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52"/>
  </p:notesMasterIdLst>
  <p:sldIdLst>
    <p:sldId id="311" r:id="rId2"/>
    <p:sldId id="312" r:id="rId3"/>
    <p:sldId id="315" r:id="rId4"/>
    <p:sldId id="296" r:id="rId5"/>
    <p:sldId id="297" r:id="rId6"/>
    <p:sldId id="445" r:id="rId7"/>
    <p:sldId id="446" r:id="rId8"/>
    <p:sldId id="448" r:id="rId9"/>
    <p:sldId id="450" r:id="rId10"/>
    <p:sldId id="451" r:id="rId11"/>
    <p:sldId id="452" r:id="rId12"/>
    <p:sldId id="453" r:id="rId13"/>
    <p:sldId id="454" r:id="rId14"/>
    <p:sldId id="319" r:id="rId15"/>
    <p:sldId id="456" r:id="rId16"/>
    <p:sldId id="457" r:id="rId17"/>
    <p:sldId id="458" r:id="rId18"/>
    <p:sldId id="449" r:id="rId19"/>
    <p:sldId id="461" r:id="rId20"/>
    <p:sldId id="460" r:id="rId21"/>
    <p:sldId id="462" r:id="rId22"/>
    <p:sldId id="463" r:id="rId23"/>
    <p:sldId id="464" r:id="rId24"/>
    <p:sldId id="466" r:id="rId25"/>
    <p:sldId id="305" r:id="rId26"/>
    <p:sldId id="459" r:id="rId27"/>
    <p:sldId id="467" r:id="rId28"/>
    <p:sldId id="500" r:id="rId29"/>
    <p:sldId id="501" r:id="rId30"/>
    <p:sldId id="502" r:id="rId31"/>
    <p:sldId id="503" r:id="rId32"/>
    <p:sldId id="504" r:id="rId33"/>
    <p:sldId id="505" r:id="rId34"/>
    <p:sldId id="506" r:id="rId35"/>
    <p:sldId id="507" r:id="rId36"/>
    <p:sldId id="508" r:id="rId37"/>
    <p:sldId id="509" r:id="rId38"/>
    <p:sldId id="510" r:id="rId39"/>
    <p:sldId id="511" r:id="rId40"/>
    <p:sldId id="512" r:id="rId41"/>
    <p:sldId id="513" r:id="rId42"/>
    <p:sldId id="514" r:id="rId43"/>
    <p:sldId id="515" r:id="rId44"/>
    <p:sldId id="516" r:id="rId45"/>
    <p:sldId id="518" r:id="rId46"/>
    <p:sldId id="517" r:id="rId47"/>
    <p:sldId id="519" r:id="rId48"/>
    <p:sldId id="520" r:id="rId49"/>
    <p:sldId id="521" r:id="rId50"/>
    <p:sldId id="1628" r:id="rId51"/>
  </p:sldIdLst>
  <p:sldSz cx="12192000" cy="6858000"/>
  <p:notesSz cx="6858000" cy="9144000"/>
  <p:custDataLst>
    <p:tags r:id="rId53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00"/>
    <a:srgbClr val="0000FF"/>
    <a:srgbClr val="FFC000"/>
    <a:srgbClr val="00005C"/>
    <a:srgbClr val="06D24C"/>
    <a:srgbClr val="035920"/>
    <a:srgbClr val="F6F5F3"/>
    <a:srgbClr val="04862F"/>
    <a:srgbClr val="07DB4E"/>
    <a:srgbClr val="0839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浅色样式 2 - 强调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182" autoAdjust="0"/>
  </p:normalViewPr>
  <p:slideViewPr>
    <p:cSldViewPr snapToGrid="0">
      <p:cViewPr varScale="1">
        <p:scale>
          <a:sx n="86" d="100"/>
          <a:sy n="86" d="100"/>
        </p:scale>
        <p:origin x="128" y="188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ags" Target="tags/tag1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ableStyles" Target="tableStyle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5/5/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354913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rgbClr val="0000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3" name="任意多边形: 形状 22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0" name="任意多边形: 形状 19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5" y="5306656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9925" y="5602927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69925" y="4456729"/>
            <a:ext cx="10850563" cy="558799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69925" y="1028701"/>
            <a:ext cx="10850563" cy="3136900"/>
          </a:xfrm>
        </p:spPr>
        <p:txBody>
          <a:bodyPr anchor="b" anchorCtr="0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2_1"/>
          <p:cNvSpPr>
            <a:spLocks noChangeArrowheads="1"/>
          </p:cNvSpPr>
          <p:nvPr userDrawn="1"/>
        </p:nvSpPr>
        <p:spPr bwMode="auto">
          <a:xfrm>
            <a:off x="190500" y="3192312"/>
            <a:ext cx="12192000" cy="3429000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 dpi="0" rotWithShape="1">
            <a:blip r:embed="rId2">
              <a:alphaModFix amt="60000"/>
            </a:blip>
            <a:srcRect/>
            <a:stretch>
              <a:fillRect t="-93255" b="-31457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2488168" y="2033814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2489284" y="2929164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任意多边形: 形状 6"/>
          <p:cNvSpPr/>
          <p:nvPr userDrawn="1"/>
        </p:nvSpPr>
        <p:spPr>
          <a:xfrm>
            <a:off x="-9525" y="-9525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任意多边形: 形状 9"/>
          <p:cNvSpPr/>
          <p:nvPr userDrawn="1"/>
        </p:nvSpPr>
        <p:spPr bwMode="auto">
          <a:xfrm flipH="1" flipV="1">
            <a:off x="-1219199" y="239311"/>
            <a:ext cx="13411199" cy="80118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1" name="任意多边形: 形状 10"/>
          <p:cNvSpPr/>
          <p:nvPr userDrawn="1"/>
        </p:nvSpPr>
        <p:spPr>
          <a:xfrm rot="10800000">
            <a:off x="-28575" y="6321199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2" name="任意多边形: 形状 11"/>
          <p:cNvSpPr/>
          <p:nvPr userDrawn="1"/>
        </p:nvSpPr>
        <p:spPr bwMode="auto">
          <a:xfrm>
            <a:off x="-9525" y="6230938"/>
            <a:ext cx="12201525" cy="801179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2" name="文本框 1"/>
          <p:cNvSpPr txBox="1"/>
          <p:nvPr userDrawn="1"/>
        </p:nvSpPr>
        <p:spPr>
          <a:xfrm>
            <a:off x="11520488" y="6486465"/>
            <a:ext cx="6715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79552D3-A968-4710-B841-1063F5B640DF}" type="slidenum">
              <a:rPr lang="zh-CN" altLang="en-US" sz="2000" b="1" smtClean="0">
                <a:solidFill>
                  <a:schemeClr val="accent2">
                    <a:lumMod val="50000"/>
                  </a:schemeClr>
                </a:solidFill>
              </a:rPr>
              <a:t>‹#›</a:t>
            </a:fld>
            <a:endParaRPr lang="zh-CN" altLang="en-US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4410" y="24187"/>
            <a:ext cx="527050" cy="52705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26766-F62E-419D-BB7F-91C9CEBCA24E}" type="datetime1">
              <a:rPr lang="zh-CN" altLang="en-US" smtClean="0"/>
              <a:t>2025/5/5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0" name="任意多边形: 形状 9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4034971" y="2163199"/>
            <a:ext cx="6536871" cy="239042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034971" y="5238353"/>
            <a:ext cx="6536871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4034973" y="4942082"/>
            <a:ext cx="6536871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1" name="任意多边形: 形状 10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25681" y="172376"/>
            <a:ext cx="10969200" cy="705600"/>
          </a:xfrm>
        </p:spPr>
        <p:txBody>
          <a:bodyPr vert="horz" lIns="90000" tIns="46800" rIns="90000" bIns="46800" rtlCol="0" anchor="ctr" anchorCtr="0">
            <a:normAutofit/>
          </a:bodyPr>
          <a:lstStyle>
            <a:lvl1pPr>
              <a:defRPr sz="3200"/>
            </a:lvl1pPr>
          </a:lstStyle>
          <a:p>
            <a:pPr lvl="0"/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08400" y="1334414"/>
            <a:ext cx="10969200" cy="4759200"/>
          </a:xfrm>
        </p:spPr>
        <p:txBody>
          <a:bodyPr vert="horz" lIns="90000" tIns="46800" rIns="90000" bIns="46800" rtlCol="0">
            <a:normAutofit/>
          </a:bodyPr>
          <a:lstStyle>
            <a:lvl1pPr>
              <a:defRPr sz="2800" b="1">
                <a:solidFill>
                  <a:srgbClr val="0070C0"/>
                </a:solidFill>
              </a:defRPr>
            </a:lvl1pPr>
            <a:lvl2pPr>
              <a:defRPr sz="2400" b="0">
                <a:solidFill>
                  <a:schemeClr val="tx1"/>
                </a:solidFill>
              </a:defRPr>
            </a:lvl2pPr>
            <a:lvl3pPr>
              <a:defRPr sz="2000" b="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510501DC-3EA8-8A2C-D1EA-147A97B62F70}"/>
              </a:ext>
            </a:extLst>
          </p:cNvPr>
          <p:cNvCxnSpPr/>
          <p:nvPr userDrawn="1"/>
        </p:nvCxnSpPr>
        <p:spPr>
          <a:xfrm>
            <a:off x="359739" y="985552"/>
            <a:ext cx="11430297" cy="0"/>
          </a:xfrm>
          <a:prstGeom prst="line">
            <a:avLst/>
          </a:prstGeom>
          <a:ln w="571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图片 8">
            <a:extLst>
              <a:ext uri="{FF2B5EF4-FFF2-40B4-BE49-F238E27FC236}">
                <a16:creationId xmlns:a16="http://schemas.microsoft.com/office/drawing/2014/main" id="{D0B8E2F4-C99F-F948-7A81-FCB16B17C4C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72520" y="238397"/>
            <a:ext cx="2105080" cy="6143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日期占位符 8">
            <a:extLst>
              <a:ext uri="{FF2B5EF4-FFF2-40B4-BE49-F238E27FC236}">
                <a16:creationId xmlns:a16="http://schemas.microsoft.com/office/drawing/2014/main" id="{B200D611-D95F-BE1B-EEDE-D340F8462F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9C3ECD-35F0-4568-B8C6-467655750EA4}" type="datetime1">
              <a:rPr lang="zh-CN" altLang="en-US" smtClean="0"/>
              <a:t>2025/5/5</a:t>
            </a:fld>
            <a:endParaRPr lang="zh-CN" altLang="en-US" dirty="0"/>
          </a:p>
        </p:txBody>
      </p:sp>
      <p:sp>
        <p:nvSpPr>
          <p:cNvPr id="10" name="页脚占位符 9">
            <a:extLst>
              <a:ext uri="{FF2B5EF4-FFF2-40B4-BE49-F238E27FC236}">
                <a16:creationId xmlns:a16="http://schemas.microsoft.com/office/drawing/2014/main" id="{69222A86-31B2-8948-BB48-8C6E603148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zh-CN" altLang="en-US"/>
              <a:t>第</a:t>
            </a:r>
            <a:r>
              <a:rPr lang="en-US" altLang="zh-CN"/>
              <a:t>9</a:t>
            </a:r>
            <a:r>
              <a:rPr lang="zh-CN" altLang="en-US"/>
              <a:t>章 磁盘存储器管理</a:t>
            </a:r>
            <a:endParaRPr lang="zh-CN" altLang="en-US" dirty="0"/>
          </a:p>
        </p:txBody>
      </p:sp>
      <p:sp>
        <p:nvSpPr>
          <p:cNvPr id="11" name="灯片编号占位符 10">
            <a:extLst>
              <a:ext uri="{FF2B5EF4-FFF2-40B4-BE49-F238E27FC236}">
                <a16:creationId xmlns:a16="http://schemas.microsoft.com/office/drawing/2014/main" id="{E47106A4-A908-012E-3C4C-C5F75265F4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9AE70B2-8BF9-45C0-BB95-33D1B9D3A854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1714798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7FE44A0-2E53-457E-9AC0-11D6EE9FA3B5}" type="datetime1">
              <a:rPr lang="zh-CN" altLang="en-US" smtClean="0"/>
              <a:t>2025/5/5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.xml"/><Relationship Id="rId4" Type="http://schemas.openxmlformats.org/officeDocument/2006/relationships/image" Target="../media/image2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wmf"/><Relationship Id="rId2" Type="http://schemas.openxmlformats.org/officeDocument/2006/relationships/oleObject" Target="../embeddings/oleObject1.bin"/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wmf"/><Relationship Id="rId2" Type="http://schemas.openxmlformats.org/officeDocument/2006/relationships/oleObject" Target="../embeddings/oleObject1.bin"/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Relationship Id="rId5" Type="http://schemas.openxmlformats.org/officeDocument/2006/relationships/image" Target="../media/image36.jpeg"/><Relationship Id="rId4" Type="http://schemas.openxmlformats.org/officeDocument/2006/relationships/image" Target="../media/image26.jpe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3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3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9525" imgH="9525" progId="TCLayout.ActiveDocument.1">
                  <p:embed/>
                </p:oleObj>
              </mc:Choice>
              <mc:Fallback>
                <p:oleObj name="think-cell Slide" r:id="rId4" imgW="9525" imgH="9525" progId="TCLayout.ActiveDocument.1">
                  <p:embed/>
                  <p:pic>
                    <p:nvPicPr>
                      <p:cNvPr id="0" name="图片 2118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69925" y="1319455"/>
            <a:ext cx="10850563" cy="3136900"/>
          </a:xfrm>
        </p:spPr>
        <p:txBody>
          <a:bodyPr>
            <a:normAutofit/>
          </a:bodyPr>
          <a:lstStyle/>
          <a:p>
            <a:r>
              <a:rPr lang="zh-CN" altLang="en-US" sz="4800" dirty="0"/>
              <a:t>第</a:t>
            </a:r>
            <a:r>
              <a:rPr lang="en-US" altLang="zh-CN" sz="4800" dirty="0"/>
              <a:t>9</a:t>
            </a:r>
            <a:r>
              <a:rPr lang="zh-CN" altLang="en-US" sz="4800" dirty="0"/>
              <a:t>章 磁盘存储器管理</a:t>
            </a:r>
            <a:endParaRPr lang="zh-CN" altLang="en-US" sz="2000" b="0" dirty="0"/>
          </a:p>
        </p:txBody>
      </p:sp>
      <p:sp>
        <p:nvSpPr>
          <p:cNvPr id="29" name="任意多边形: 形状 28"/>
          <p:cNvSpPr/>
          <p:nvPr/>
        </p:nvSpPr>
        <p:spPr>
          <a:xfrm>
            <a:off x="10968292" y="649047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11186" y="488949"/>
            <a:ext cx="631826" cy="631826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1243012" y="589418"/>
            <a:ext cx="4698723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200" dirty="0">
                <a:solidFill>
                  <a:schemeClr val="bg1"/>
                </a:solidFill>
                <a:sym typeface="+mn-ea"/>
              </a:rPr>
              <a:t>经典教材《计算机操作系统》</a:t>
            </a:r>
            <a:r>
              <a:rPr lang="zh-CN" altLang="en-US" sz="2200" b="1" dirty="0">
                <a:solidFill>
                  <a:schemeClr val="accent2"/>
                </a:solidFill>
                <a:sym typeface="+mn-ea"/>
              </a:rPr>
              <a:t>最新版</a:t>
            </a:r>
            <a:endParaRPr lang="zh-CN" altLang="en-US" sz="2200" b="1" dirty="0">
              <a:solidFill>
                <a:schemeClr val="accent2"/>
              </a:solidFill>
            </a:endParaRPr>
          </a:p>
        </p:txBody>
      </p:sp>
      <p:sp>
        <p:nvSpPr>
          <p:cNvPr id="17" name="矩形: 圆角 21"/>
          <p:cNvSpPr/>
          <p:nvPr/>
        </p:nvSpPr>
        <p:spPr>
          <a:xfrm>
            <a:off x="800099" y="4579447"/>
            <a:ext cx="4235540" cy="45927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主讲教师：李玮玮</a:t>
            </a:r>
            <a:endParaRPr lang="en-US" altLang="zh-CN" b="1" dirty="0">
              <a:solidFill>
                <a:schemeClr val="tx1"/>
              </a:solidFill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684121" y="5993053"/>
            <a:ext cx="2074491" cy="431799"/>
          </a:xfrm>
          <a:prstGeom prst="rect">
            <a:avLst/>
          </a:prstGeom>
        </p:spPr>
      </p:pic>
      <p:pic>
        <p:nvPicPr>
          <p:cNvPr id="14" name="图片 1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55100" y="844791"/>
            <a:ext cx="3007096" cy="4261541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FAT</a:t>
            </a:r>
            <a:r>
              <a:rPr lang="zh-CN" altLang="en-US" sz="2800" b="1" dirty="0">
                <a:solidFill>
                  <a:schemeClr val="bg1"/>
                </a:solidFill>
              </a:rPr>
              <a:t>文件系统（</a:t>
            </a:r>
            <a:r>
              <a:rPr lang="en-US" altLang="zh-CN" sz="2800" b="1" dirty="0">
                <a:solidFill>
                  <a:schemeClr val="bg1"/>
                </a:solidFill>
              </a:rPr>
              <a:t>1</a:t>
            </a:r>
            <a:r>
              <a:rPr lang="zh-CN" altLang="en-US" sz="2800" b="1" dirty="0">
                <a:solidFill>
                  <a:schemeClr val="bg1"/>
                </a:solidFill>
              </a:rPr>
              <a:t>）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822256" y="1274802"/>
            <a:ext cx="10416873" cy="5229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3000"/>
              </a:lnSpc>
            </a:pPr>
            <a:r>
              <a:rPr lang="en-US" altLang="zh-CN" sz="2500" dirty="0">
                <a:solidFill>
                  <a:srgbClr val="FF0000"/>
                </a:solidFill>
              </a:rPr>
              <a:t>FAT</a:t>
            </a:r>
            <a:r>
              <a:rPr lang="zh-CN" altLang="en-US" sz="2500" dirty="0">
                <a:solidFill>
                  <a:srgbClr val="FF0000"/>
                </a:solidFill>
              </a:rPr>
              <a:t>文件系统</a:t>
            </a:r>
            <a:r>
              <a:rPr lang="zh-CN" altLang="en-US" sz="2500" dirty="0"/>
              <a:t>是</a:t>
            </a:r>
            <a:r>
              <a:rPr lang="zh-CN" altLang="en-US" sz="2500" dirty="0">
                <a:solidFill>
                  <a:srgbClr val="0000FF"/>
                </a:solidFill>
              </a:rPr>
              <a:t>微软最早在</a:t>
            </a:r>
            <a:r>
              <a:rPr lang="en-US" altLang="zh-CN" sz="2500" dirty="0">
                <a:solidFill>
                  <a:srgbClr val="0000FF"/>
                </a:solidFill>
              </a:rPr>
              <a:t>MS-DOS</a:t>
            </a:r>
            <a:r>
              <a:rPr lang="zh-CN" altLang="en-US" sz="2500" dirty="0">
                <a:solidFill>
                  <a:srgbClr val="0000FF"/>
                </a:solidFill>
              </a:rPr>
              <a:t>开始使用的文件系统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822255" y="1947716"/>
            <a:ext cx="10416873" cy="5229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3000"/>
              </a:lnSpc>
            </a:pPr>
            <a:r>
              <a:rPr lang="en-US" altLang="zh-CN" sz="2500" dirty="0"/>
              <a:t>FAT</a:t>
            </a:r>
            <a:r>
              <a:rPr lang="zh-CN" altLang="en-US" sz="2500" dirty="0"/>
              <a:t>（</a:t>
            </a:r>
            <a:r>
              <a:rPr lang="en-US" altLang="zh-CN" sz="2500" dirty="0"/>
              <a:t>File Allocation Table</a:t>
            </a:r>
            <a:r>
              <a:rPr lang="zh-CN" altLang="en-US" sz="2500" dirty="0"/>
              <a:t>）</a:t>
            </a:r>
          </a:p>
        </p:txBody>
      </p:sp>
      <p:sp>
        <p:nvSpPr>
          <p:cNvPr id="7" name="内容占位符 2"/>
          <p:cNvSpPr txBox="1"/>
          <p:nvPr/>
        </p:nvSpPr>
        <p:spPr>
          <a:xfrm>
            <a:off x="822255" y="2620631"/>
            <a:ext cx="1984953" cy="67121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265" lvl="1" indent="-5334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da-DK" altLang="zh-CN" sz="2400" dirty="0"/>
              <a:t>FAT12</a:t>
            </a:r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7989" y="3540044"/>
            <a:ext cx="8626545" cy="17258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内容占位符 2"/>
          <p:cNvSpPr txBox="1"/>
          <p:nvPr/>
        </p:nvSpPr>
        <p:spPr>
          <a:xfrm>
            <a:off x="3085944" y="2620630"/>
            <a:ext cx="1984953" cy="671211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265" lvl="1" indent="-5334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da-DK" altLang="zh-CN" sz="2400" dirty="0"/>
              <a:t>FAT16</a:t>
            </a:r>
          </a:p>
        </p:txBody>
      </p:sp>
      <p:sp>
        <p:nvSpPr>
          <p:cNvPr id="10" name="内容占位符 2"/>
          <p:cNvSpPr txBox="1"/>
          <p:nvPr/>
        </p:nvSpPr>
        <p:spPr>
          <a:xfrm>
            <a:off x="5302815" y="2618771"/>
            <a:ext cx="1661748" cy="597986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265" lvl="1" indent="-5334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da-DK" altLang="zh-CN" sz="2400" dirty="0"/>
              <a:t>FAT32</a:t>
            </a:r>
          </a:p>
        </p:txBody>
      </p:sp>
      <p:sp>
        <p:nvSpPr>
          <p:cNvPr id="11" name="内容占位符 2"/>
          <p:cNvSpPr txBox="1"/>
          <p:nvPr/>
        </p:nvSpPr>
        <p:spPr>
          <a:xfrm>
            <a:off x="7341657" y="2620630"/>
            <a:ext cx="2936199" cy="52290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265" lvl="1" indent="-5334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da-DK" altLang="zh-CN" sz="2400" dirty="0"/>
              <a:t>FAT64</a:t>
            </a:r>
            <a:r>
              <a:rPr lang="zh-CN" altLang="da-DK" sz="2400" dirty="0"/>
              <a:t>（</a:t>
            </a:r>
            <a:r>
              <a:rPr lang="da-DK" altLang="zh-CN" sz="2400" dirty="0"/>
              <a:t>exFAT</a:t>
            </a:r>
            <a:r>
              <a:rPr lang="zh-CN" altLang="da-DK" sz="2400" dirty="0"/>
              <a:t>）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FAT</a:t>
            </a:r>
            <a:r>
              <a:rPr lang="zh-CN" altLang="en-US" sz="2800" b="1" dirty="0">
                <a:solidFill>
                  <a:schemeClr val="bg1"/>
                </a:solidFill>
              </a:rPr>
              <a:t>文件系统（</a:t>
            </a:r>
            <a:r>
              <a:rPr lang="en-US" altLang="zh-CN" sz="2800" b="1" dirty="0">
                <a:solidFill>
                  <a:schemeClr val="bg1"/>
                </a:solidFill>
              </a:rPr>
              <a:t>2</a:t>
            </a:r>
            <a:r>
              <a:rPr lang="zh-CN" altLang="en-US" sz="2800" b="1" dirty="0">
                <a:solidFill>
                  <a:schemeClr val="bg1"/>
                </a:solidFill>
              </a:rPr>
              <a:t>）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822256" y="1274802"/>
            <a:ext cx="10416873" cy="5229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3000"/>
              </a:lnSpc>
            </a:pPr>
            <a:r>
              <a:rPr lang="zh-CN" altLang="en-US" sz="2500" dirty="0"/>
              <a:t>以盘块为单位的</a:t>
            </a:r>
            <a:r>
              <a:rPr lang="en-US" altLang="zh-CN" sz="2500" dirty="0">
                <a:solidFill>
                  <a:srgbClr val="FF0000"/>
                </a:solidFill>
              </a:rPr>
              <a:t>FAT</a:t>
            </a:r>
            <a:r>
              <a:rPr lang="zh-CN" altLang="en-US" sz="2500" dirty="0">
                <a:solidFill>
                  <a:srgbClr val="FF0000"/>
                </a:solidFill>
              </a:rPr>
              <a:t>文件系统</a:t>
            </a:r>
          </a:p>
        </p:txBody>
      </p:sp>
      <p:sp>
        <p:nvSpPr>
          <p:cNvPr id="7" name="内容占位符 2"/>
          <p:cNvSpPr txBox="1"/>
          <p:nvPr/>
        </p:nvSpPr>
        <p:spPr>
          <a:xfrm>
            <a:off x="822255" y="1785383"/>
            <a:ext cx="10973505" cy="67121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265" lvl="1" indent="-5334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Ø"/>
              <a:defRPr/>
            </a:pPr>
            <a:r>
              <a:rPr lang="en-US" altLang="zh-CN" sz="2400" dirty="0"/>
              <a:t>FAT12</a:t>
            </a:r>
            <a:r>
              <a:rPr lang="zh-CN" altLang="en-US" sz="2400" dirty="0"/>
              <a:t>以盘块为基本分配单位，每个分区有两张相同的</a:t>
            </a:r>
            <a:r>
              <a:rPr lang="en-US" altLang="zh-CN" sz="2400" dirty="0"/>
              <a:t>FAT</a:t>
            </a:r>
            <a:r>
              <a:rPr lang="zh-CN" altLang="en-US" sz="2400" dirty="0"/>
              <a:t>表，</a:t>
            </a:r>
            <a:r>
              <a:rPr lang="en-US" altLang="zh-CN" sz="2400" dirty="0"/>
              <a:t>FAT1</a:t>
            </a:r>
            <a:r>
              <a:rPr lang="zh-CN" altLang="en-US" sz="2400" dirty="0"/>
              <a:t>和</a:t>
            </a:r>
            <a:r>
              <a:rPr lang="en-US" altLang="zh-CN" sz="2400" dirty="0"/>
              <a:t>FAT2</a:t>
            </a:r>
          </a:p>
          <a:p>
            <a:pPr marL="342265" lvl="1" indent="-5334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Ø"/>
              <a:defRPr/>
            </a:pPr>
            <a:r>
              <a:rPr lang="zh-CN" altLang="en-US" sz="2400" dirty="0"/>
              <a:t>例如，对</a:t>
            </a:r>
            <a:r>
              <a:rPr lang="en-US" altLang="zh-CN" sz="2400" dirty="0"/>
              <a:t>1.2MB</a:t>
            </a:r>
            <a:r>
              <a:rPr lang="zh-CN" altLang="en-US" sz="2400" dirty="0"/>
              <a:t>的软盘，每个盘块大小为</a:t>
            </a:r>
            <a:r>
              <a:rPr lang="en-US" altLang="zh-CN" sz="2400" dirty="0"/>
              <a:t>512B</a:t>
            </a:r>
            <a:endParaRPr lang="da-DK" altLang="zh-CN" sz="2400" dirty="0"/>
          </a:p>
        </p:txBody>
      </p:sp>
      <p:sp>
        <p:nvSpPr>
          <p:cNvPr id="9" name="内容占位符 2"/>
          <p:cNvSpPr txBox="1"/>
          <p:nvPr/>
        </p:nvSpPr>
        <p:spPr>
          <a:xfrm>
            <a:off x="1366872" y="2979493"/>
            <a:ext cx="6030624" cy="1745676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265" lvl="1" indent="-5334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en-US" altLang="zh-CN" sz="2400" dirty="0"/>
              <a:t>FAT</a:t>
            </a:r>
            <a:r>
              <a:rPr lang="zh-CN" altLang="en-US" sz="2400" dirty="0"/>
              <a:t>共有</a:t>
            </a:r>
            <a:r>
              <a:rPr lang="en-US" altLang="zh-CN" sz="2400" dirty="0"/>
              <a:t>2.4K</a:t>
            </a:r>
            <a:r>
              <a:rPr lang="zh-CN" altLang="en-US" sz="2400" dirty="0"/>
              <a:t>个表项（</a:t>
            </a:r>
            <a:r>
              <a:rPr lang="en-US" altLang="zh-CN" sz="2400" dirty="0"/>
              <a:t>1.2MB/512B</a:t>
            </a:r>
            <a:r>
              <a:rPr lang="zh-CN" altLang="en-US" sz="2400" dirty="0"/>
              <a:t>）</a:t>
            </a:r>
          </a:p>
          <a:p>
            <a:pPr marL="342265" lvl="1" indent="-5334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/>
              <a:t>每个</a:t>
            </a:r>
            <a:r>
              <a:rPr lang="en-US" altLang="zh-CN" sz="2400" dirty="0"/>
              <a:t>FAT</a:t>
            </a:r>
            <a:r>
              <a:rPr lang="zh-CN" altLang="en-US" sz="2400" dirty="0"/>
              <a:t>表项占</a:t>
            </a:r>
            <a:r>
              <a:rPr lang="en-US" altLang="zh-CN" sz="2400" dirty="0"/>
              <a:t>12b</a:t>
            </a:r>
            <a:r>
              <a:rPr lang="zh-CN" altLang="en-US" sz="2400" dirty="0"/>
              <a:t>（</a:t>
            </a:r>
            <a:r>
              <a:rPr lang="en-US" altLang="zh-CN" sz="2400" dirty="0"/>
              <a:t>1.5B</a:t>
            </a:r>
            <a:r>
              <a:rPr lang="zh-CN" altLang="en-US" sz="2400" dirty="0"/>
              <a:t>）</a:t>
            </a:r>
          </a:p>
          <a:p>
            <a:pPr marL="342265" lvl="1" indent="-5334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/>
              <a:t>因此</a:t>
            </a:r>
            <a:r>
              <a:rPr lang="en-US" altLang="zh-CN" sz="2400" dirty="0"/>
              <a:t>FAT</a:t>
            </a:r>
            <a:r>
              <a:rPr lang="zh-CN" altLang="en-US" sz="2400" dirty="0"/>
              <a:t>表占用</a:t>
            </a:r>
            <a:r>
              <a:rPr lang="en-US" altLang="zh-CN" sz="2400" dirty="0"/>
              <a:t>3.6KB(2.4K*1.5B)</a:t>
            </a:r>
          </a:p>
        </p:txBody>
      </p:sp>
      <p:pic>
        <p:nvPicPr>
          <p:cNvPr id="12" name="图片 216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3760" y="2897166"/>
            <a:ext cx="4339741" cy="347389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3" name="直接连接符 2"/>
          <p:cNvCxnSpPr/>
          <p:nvPr/>
        </p:nvCxnSpPr>
        <p:spPr>
          <a:xfrm>
            <a:off x="740664" y="5038344"/>
            <a:ext cx="592531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连接符 12"/>
          <p:cNvCxnSpPr/>
          <p:nvPr/>
        </p:nvCxnSpPr>
        <p:spPr>
          <a:xfrm>
            <a:off x="740664" y="5349240"/>
            <a:ext cx="592531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/>
          <p:cNvCxnSpPr/>
          <p:nvPr/>
        </p:nvCxnSpPr>
        <p:spPr>
          <a:xfrm>
            <a:off x="740664" y="5696712"/>
            <a:ext cx="592531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接连接符 14"/>
          <p:cNvCxnSpPr/>
          <p:nvPr/>
        </p:nvCxnSpPr>
        <p:spPr>
          <a:xfrm>
            <a:off x="740664" y="5998464"/>
            <a:ext cx="592531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FAT</a:t>
            </a:r>
            <a:r>
              <a:rPr lang="zh-CN" altLang="en-US" sz="2800" b="1" dirty="0">
                <a:solidFill>
                  <a:schemeClr val="bg1"/>
                </a:solidFill>
              </a:rPr>
              <a:t>文件系统（</a:t>
            </a:r>
            <a:r>
              <a:rPr lang="en-US" altLang="zh-CN" sz="2800" b="1" dirty="0">
                <a:solidFill>
                  <a:schemeClr val="bg1"/>
                </a:solidFill>
              </a:rPr>
              <a:t>3</a:t>
            </a:r>
            <a:r>
              <a:rPr lang="zh-CN" altLang="en-US" sz="2800" b="1" dirty="0">
                <a:solidFill>
                  <a:schemeClr val="bg1"/>
                </a:solidFill>
              </a:rPr>
              <a:t>）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822256" y="1274802"/>
            <a:ext cx="10416873" cy="5229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3000"/>
              </a:lnSpc>
            </a:pPr>
            <a:r>
              <a:rPr lang="zh-CN" altLang="en-US" sz="2500" dirty="0"/>
              <a:t>以簇为单位的</a:t>
            </a:r>
            <a:r>
              <a:rPr lang="en-US" altLang="zh-CN" sz="2500" dirty="0"/>
              <a:t>FAT</a:t>
            </a:r>
            <a:r>
              <a:rPr lang="zh-CN" altLang="en-US" sz="2500" dirty="0"/>
              <a:t>文件系统</a:t>
            </a:r>
          </a:p>
        </p:txBody>
      </p:sp>
      <p:sp>
        <p:nvSpPr>
          <p:cNvPr id="7" name="内容占位符 2"/>
          <p:cNvSpPr txBox="1"/>
          <p:nvPr/>
        </p:nvSpPr>
        <p:spPr>
          <a:xfrm>
            <a:off x="822255" y="1785383"/>
            <a:ext cx="10973505" cy="555645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265" lvl="1" indent="-533400">
              <a:lnSpc>
                <a:spcPct val="123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Ø"/>
              <a:defRPr/>
            </a:pPr>
            <a:r>
              <a:rPr lang="zh-CN" altLang="en-US" sz="2400" u="sng" dirty="0"/>
              <a:t>簇是一组相邻的扇区</a:t>
            </a:r>
            <a:r>
              <a:rPr lang="zh-CN" altLang="en-US" sz="2400" dirty="0"/>
              <a:t>，在</a:t>
            </a:r>
            <a:r>
              <a:rPr lang="en-US" altLang="zh-CN" sz="2400" dirty="0"/>
              <a:t>FAT</a:t>
            </a:r>
            <a:r>
              <a:rPr lang="zh-CN" altLang="en-US" sz="2400" dirty="0"/>
              <a:t>中被视作一个虚拟扇区</a:t>
            </a:r>
          </a:p>
          <a:p>
            <a:pPr marL="342265" lvl="1" indent="-533400">
              <a:lnSpc>
                <a:spcPct val="123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Ø"/>
              <a:defRPr/>
            </a:pPr>
            <a:r>
              <a:rPr lang="zh-CN" altLang="en-US" sz="2400" dirty="0"/>
              <a:t>簇的大小一般是</a:t>
            </a:r>
            <a:r>
              <a:rPr lang="en-US" altLang="zh-CN" sz="2400" dirty="0"/>
              <a:t>2n</a:t>
            </a:r>
            <a:r>
              <a:rPr lang="zh-CN" altLang="en-US" sz="2400" dirty="0"/>
              <a:t>个盘块</a:t>
            </a:r>
            <a:r>
              <a:rPr lang="en-US" altLang="zh-CN" sz="2400" dirty="0"/>
              <a:t>(n=1,2,4,8,…)</a:t>
            </a:r>
          </a:p>
          <a:p>
            <a:pPr marL="342265" lvl="1" indent="-533400">
              <a:lnSpc>
                <a:spcPct val="123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Ø"/>
              <a:defRPr/>
            </a:pPr>
            <a:r>
              <a:rPr lang="zh-CN" altLang="en-US" sz="2400" dirty="0"/>
              <a:t>一个簇应包含扇区的数量，与磁盘容量大小直接相关</a:t>
            </a:r>
            <a:endParaRPr lang="en-US" altLang="zh-CN" sz="2400" dirty="0"/>
          </a:p>
          <a:p>
            <a:pPr marL="342265" lvl="1" indent="-533400">
              <a:lnSpc>
                <a:spcPct val="123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Ø"/>
              <a:defRPr/>
            </a:pPr>
            <a:r>
              <a:rPr lang="en-US" altLang="zh-CN" sz="2400" dirty="0"/>
              <a:t>FAT16</a:t>
            </a:r>
            <a:r>
              <a:rPr lang="zh-CN" altLang="en-US" sz="2400" dirty="0"/>
              <a:t>支持一个簇有</a:t>
            </a:r>
            <a:r>
              <a:rPr lang="en-US" altLang="zh-CN" sz="2400" dirty="0"/>
              <a:t>64</a:t>
            </a:r>
            <a:r>
              <a:rPr lang="zh-CN" altLang="en-US" sz="2400" dirty="0"/>
              <a:t>个盘块，其</a:t>
            </a:r>
            <a:r>
              <a:rPr lang="en-US" altLang="zh-CN" sz="2400" dirty="0"/>
              <a:t>FAT</a:t>
            </a:r>
            <a:r>
              <a:rPr lang="zh-CN" altLang="en-US" sz="2400" dirty="0"/>
              <a:t>表的表项数最大为</a:t>
            </a:r>
            <a:r>
              <a:rPr lang="en-US" altLang="zh-CN" sz="2400" dirty="0"/>
              <a:t>2</a:t>
            </a:r>
            <a:r>
              <a:rPr lang="en-US" altLang="zh-CN" sz="2400" baseline="30000" dirty="0"/>
              <a:t>16</a:t>
            </a:r>
            <a:r>
              <a:rPr lang="zh-CN" altLang="en-US" sz="2400" dirty="0"/>
              <a:t>，则最大可以管理的分区空间为</a:t>
            </a:r>
            <a:r>
              <a:rPr lang="en-US" altLang="zh-CN" sz="2400" dirty="0"/>
              <a:t>2048MB(512*64*2</a:t>
            </a:r>
            <a:r>
              <a:rPr lang="en-US" altLang="zh-CN" sz="2400" baseline="30000" dirty="0"/>
              <a:t>16</a:t>
            </a:r>
            <a:r>
              <a:rPr lang="en-US" altLang="zh-CN" sz="2400" dirty="0"/>
              <a:t>)</a:t>
            </a:r>
          </a:p>
          <a:p>
            <a:pPr marL="342265" lvl="1" indent="-533400">
              <a:lnSpc>
                <a:spcPct val="123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Ø"/>
              <a:defRPr/>
            </a:pPr>
            <a:r>
              <a:rPr lang="zh-CN" altLang="en-US" sz="2400" dirty="0">
                <a:solidFill>
                  <a:srgbClr val="0000FF"/>
                </a:solidFill>
              </a:rPr>
              <a:t>优点</a:t>
            </a:r>
            <a:r>
              <a:rPr lang="zh-CN" altLang="en-US" sz="2400" dirty="0"/>
              <a:t>：</a:t>
            </a:r>
          </a:p>
          <a:p>
            <a:pPr marL="799465" lvl="2" indent="-533400">
              <a:lnSpc>
                <a:spcPct val="123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p"/>
              <a:defRPr/>
            </a:pPr>
            <a:r>
              <a:rPr lang="zh-CN" altLang="en-US" sz="2200" dirty="0"/>
              <a:t>可以减少</a:t>
            </a:r>
            <a:r>
              <a:rPr lang="en-US" altLang="zh-CN" sz="2200" dirty="0"/>
              <a:t>FAT</a:t>
            </a:r>
            <a:r>
              <a:rPr lang="zh-CN" altLang="en-US" sz="2200" dirty="0"/>
              <a:t>中的项数，使</a:t>
            </a:r>
            <a:r>
              <a:rPr lang="en-US" altLang="zh-CN" sz="2200" dirty="0"/>
              <a:t>FAT</a:t>
            </a:r>
            <a:r>
              <a:rPr lang="zh-CN" altLang="en-US" sz="2200" dirty="0"/>
              <a:t>占用更少的存储空间，并且可以减少访问</a:t>
            </a:r>
            <a:r>
              <a:rPr lang="en-US" altLang="zh-CN" sz="2200" dirty="0"/>
              <a:t>FAT</a:t>
            </a:r>
            <a:r>
              <a:rPr lang="zh-CN" altLang="en-US" sz="2200" dirty="0"/>
              <a:t>的存取开销</a:t>
            </a:r>
          </a:p>
          <a:p>
            <a:pPr marL="342265" lvl="1" indent="-533400">
              <a:lnSpc>
                <a:spcPct val="123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Ø"/>
              <a:defRPr/>
            </a:pPr>
            <a:r>
              <a:rPr lang="zh-CN" altLang="en-US" sz="2400" dirty="0">
                <a:solidFill>
                  <a:srgbClr val="FF0000"/>
                </a:solidFill>
              </a:rPr>
              <a:t>缺点</a:t>
            </a:r>
            <a:r>
              <a:rPr lang="zh-CN" altLang="en-US" sz="2400" dirty="0"/>
              <a:t>：</a:t>
            </a:r>
          </a:p>
          <a:p>
            <a:pPr marL="799465" lvl="2" indent="-533400">
              <a:lnSpc>
                <a:spcPct val="123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p"/>
              <a:defRPr/>
            </a:pPr>
            <a:r>
              <a:rPr lang="zh-CN" altLang="en-US" sz="2200" dirty="0"/>
              <a:t>簇的容量越大，簇内碎片越大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FAT 32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571348" y="1079493"/>
            <a:ext cx="9747680" cy="33504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zh-CN" altLang="en-US" sz="2400" dirty="0">
                <a:sym typeface="Wingdings" panose="05000000000000000000" pitchFamily="2" charset="2"/>
              </a:rPr>
              <a:t>两份</a:t>
            </a:r>
            <a:r>
              <a:rPr lang="en-US" altLang="zh-CN" sz="2400" dirty="0">
                <a:sym typeface="Wingdings" panose="05000000000000000000" pitchFamily="2" charset="2"/>
              </a:rPr>
              <a:t>FAT</a:t>
            </a:r>
            <a:r>
              <a:rPr lang="zh-CN" altLang="en-US" sz="2400" dirty="0">
                <a:sym typeface="Wingdings" panose="05000000000000000000" pitchFamily="2" charset="2"/>
              </a:rPr>
              <a:t>表；</a:t>
            </a:r>
            <a:endParaRPr lang="en-US" altLang="zh-CN" sz="2400" dirty="0">
              <a:sym typeface="Wingdings" panose="05000000000000000000" pitchFamily="2" charset="2"/>
            </a:endParaRPr>
          </a:p>
          <a:p>
            <a:pPr>
              <a:lnSpc>
                <a:spcPct val="150000"/>
              </a:lnSpc>
              <a:defRPr/>
            </a:pPr>
            <a:r>
              <a:rPr lang="zh-CN" altLang="en-US" sz="2400" dirty="0">
                <a:sym typeface="Wingdings" panose="05000000000000000000" pitchFamily="2" charset="2"/>
              </a:rPr>
              <a:t>每个簇</a:t>
            </a:r>
            <a:r>
              <a:rPr lang="en-US" altLang="zh-CN" sz="2400" dirty="0">
                <a:sym typeface="Wingdings" panose="05000000000000000000" pitchFamily="2" charset="2"/>
              </a:rPr>
              <a:t>(</a:t>
            </a:r>
            <a:r>
              <a:rPr lang="zh-CN" altLang="en-US" sz="2400" dirty="0">
                <a:sym typeface="Wingdings" panose="05000000000000000000" pitchFamily="2" charset="2"/>
              </a:rPr>
              <a:t>物理块</a:t>
            </a:r>
            <a:r>
              <a:rPr lang="en-US" altLang="zh-CN" sz="2400" dirty="0">
                <a:sym typeface="Wingdings" panose="05000000000000000000" pitchFamily="2" charset="2"/>
              </a:rPr>
              <a:t>)</a:t>
            </a:r>
            <a:r>
              <a:rPr lang="zh-CN" altLang="en-US" sz="2400" dirty="0">
                <a:sym typeface="Wingdings" panose="05000000000000000000" pitchFamily="2" charset="2"/>
              </a:rPr>
              <a:t>固定为</a:t>
            </a:r>
            <a:r>
              <a:rPr lang="en-US" altLang="zh-CN" sz="2400" dirty="0">
                <a:sym typeface="Wingdings" panose="05000000000000000000" pitchFamily="2" charset="2"/>
              </a:rPr>
              <a:t>4KB~32KB</a:t>
            </a:r>
            <a:r>
              <a:rPr lang="zh-CN" altLang="en-US" sz="2400" dirty="0">
                <a:sym typeface="Wingdings" panose="05000000000000000000" pitchFamily="2" charset="2"/>
              </a:rPr>
              <a:t>；</a:t>
            </a:r>
            <a:endParaRPr lang="en-US" altLang="zh-CN" sz="2400" dirty="0">
              <a:sym typeface="Wingdings" panose="05000000000000000000" pitchFamily="2" charset="2"/>
            </a:endParaRPr>
          </a:p>
          <a:p>
            <a:pPr>
              <a:lnSpc>
                <a:spcPct val="150000"/>
              </a:lnSpc>
              <a:defRPr/>
            </a:pPr>
            <a:r>
              <a:rPr lang="en-US" altLang="zh-CN" sz="2400" dirty="0">
                <a:sym typeface="Wingdings" panose="05000000000000000000" pitchFamily="2" charset="2"/>
              </a:rPr>
              <a:t>FAT</a:t>
            </a:r>
            <a:r>
              <a:rPr lang="zh-CN" altLang="en-US" sz="2400" dirty="0">
                <a:sym typeface="Wingdings" panose="05000000000000000000" pitchFamily="2" charset="2"/>
              </a:rPr>
              <a:t>表的表项占据</a:t>
            </a:r>
            <a:r>
              <a:rPr lang="en-US" altLang="zh-CN" sz="2400" dirty="0">
                <a:sym typeface="Wingdings" panose="05000000000000000000" pitchFamily="2" charset="2"/>
              </a:rPr>
              <a:t>32</a:t>
            </a:r>
            <a:r>
              <a:rPr lang="zh-CN" altLang="en-US" sz="2400" dirty="0">
                <a:sym typeface="Wingdings" panose="05000000000000000000" pitchFamily="2" charset="2"/>
              </a:rPr>
              <a:t>位；</a:t>
            </a:r>
            <a:endParaRPr lang="en-US" altLang="zh-CN" sz="2400" dirty="0">
              <a:sym typeface="Wingdings" panose="05000000000000000000" pitchFamily="2" charset="2"/>
            </a:endParaRPr>
          </a:p>
          <a:p>
            <a:pPr>
              <a:lnSpc>
                <a:spcPct val="150000"/>
              </a:lnSpc>
              <a:defRPr/>
            </a:pPr>
            <a:r>
              <a:rPr lang="en-US" altLang="zh-CN" sz="2400" dirty="0">
                <a:sym typeface="Wingdings" panose="05000000000000000000" pitchFamily="2" charset="2"/>
              </a:rPr>
              <a:t>FAT</a:t>
            </a:r>
            <a:r>
              <a:rPr lang="zh-CN" altLang="en-US" sz="2400" dirty="0">
                <a:sym typeface="Wingdings" panose="05000000000000000000" pitchFamily="2" charset="2"/>
              </a:rPr>
              <a:t>表最大表项数</a:t>
            </a:r>
            <a:r>
              <a:rPr lang="en-US" altLang="zh-CN" sz="2400" dirty="0">
                <a:sym typeface="Wingdings" panose="05000000000000000000" pitchFamily="2" charset="2"/>
              </a:rPr>
              <a:t>2</a:t>
            </a:r>
            <a:r>
              <a:rPr lang="en-US" altLang="zh-CN" sz="2400" baseline="30000" dirty="0">
                <a:sym typeface="Wingdings" panose="05000000000000000000" pitchFamily="2" charset="2"/>
              </a:rPr>
              <a:t>32</a:t>
            </a:r>
            <a:r>
              <a:rPr lang="zh-CN" altLang="en-US" sz="2400" dirty="0">
                <a:sym typeface="Wingdings" panose="05000000000000000000" pitchFamily="2" charset="2"/>
              </a:rPr>
              <a:t>项；</a:t>
            </a:r>
            <a:endParaRPr lang="en-US" altLang="zh-CN" sz="2400" dirty="0">
              <a:sym typeface="Wingdings" panose="05000000000000000000" pitchFamily="2" charset="2"/>
            </a:endParaRPr>
          </a:p>
          <a:p>
            <a:pPr>
              <a:lnSpc>
                <a:spcPct val="150000"/>
              </a:lnSpc>
              <a:defRPr/>
            </a:pPr>
            <a:r>
              <a:rPr lang="zh-CN" altLang="en-US" sz="2400" dirty="0">
                <a:sym typeface="Wingdings" panose="05000000000000000000" pitchFamily="2" charset="2"/>
              </a:rPr>
              <a:t>单个文件不能大于</a:t>
            </a:r>
            <a:r>
              <a:rPr lang="en-US" altLang="zh-CN" sz="2400" dirty="0"/>
              <a:t>4G</a:t>
            </a:r>
            <a:r>
              <a:rPr lang="zh-CN" altLang="en-US" sz="2400" dirty="0"/>
              <a:t>；</a:t>
            </a:r>
            <a:endParaRPr lang="en-US" altLang="zh-CN" sz="2400" dirty="0">
              <a:sym typeface="Wingdings" panose="05000000000000000000" pitchFamily="2" charset="2"/>
            </a:endParaRPr>
          </a:p>
          <a:p>
            <a:pPr>
              <a:lnSpc>
                <a:spcPct val="150000"/>
              </a:lnSpc>
              <a:defRPr/>
            </a:pPr>
            <a:r>
              <a:rPr lang="en-US" altLang="zh-CN" sz="2400" dirty="0">
                <a:sym typeface="Wingdings" panose="05000000000000000000" pitchFamily="2" charset="2"/>
              </a:rPr>
              <a:t>FAT32</a:t>
            </a:r>
            <a:r>
              <a:rPr lang="zh-CN" altLang="en-US" sz="2400" dirty="0">
                <a:sym typeface="Wingdings" panose="05000000000000000000" pitchFamily="2" charset="2"/>
              </a:rPr>
              <a:t>管理的</a:t>
            </a:r>
            <a:r>
              <a:rPr lang="zh-CN" altLang="en-US" sz="2400" dirty="0">
                <a:solidFill>
                  <a:srgbClr val="0000FF"/>
                </a:solidFill>
                <a:sym typeface="Wingdings" panose="05000000000000000000" pitchFamily="2" charset="2"/>
              </a:rPr>
              <a:t>单个最大磁盘空间</a:t>
            </a:r>
            <a:r>
              <a:rPr lang="zh-CN" altLang="en-US" sz="2400" dirty="0">
                <a:sym typeface="Wingdings" panose="05000000000000000000" pitchFamily="2" charset="2"/>
              </a:rPr>
              <a:t>：</a:t>
            </a:r>
            <a:r>
              <a:rPr lang="en-US" altLang="zh-CN" sz="2400" dirty="0">
                <a:solidFill>
                  <a:srgbClr val="FF0000"/>
                </a:solidFill>
                <a:sym typeface="Wingdings" panose="05000000000000000000" pitchFamily="2" charset="2"/>
              </a:rPr>
              <a:t>512B*2</a:t>
            </a:r>
            <a:r>
              <a:rPr lang="en-US" altLang="zh-CN" sz="2400" baseline="30000" dirty="0">
                <a:solidFill>
                  <a:srgbClr val="FF0000"/>
                </a:solidFill>
                <a:sym typeface="Wingdings" panose="05000000000000000000" pitchFamily="2" charset="2"/>
              </a:rPr>
              <a:t>32</a:t>
            </a:r>
            <a:r>
              <a:rPr lang="en-US" altLang="zh-CN" sz="2400" dirty="0">
                <a:solidFill>
                  <a:srgbClr val="FF0000"/>
                </a:solidFill>
                <a:sym typeface="Wingdings" panose="05000000000000000000" pitchFamily="2" charset="2"/>
              </a:rPr>
              <a:t>=2TB</a:t>
            </a:r>
            <a:r>
              <a:rPr lang="zh-CN" altLang="en-US" sz="2400" dirty="0">
                <a:sym typeface="Wingdings" panose="05000000000000000000" pitchFamily="2" charset="2"/>
              </a:rPr>
              <a:t>。</a:t>
            </a:r>
            <a:endParaRPr lang="en-US" altLang="zh-CN" sz="2400" dirty="0">
              <a:sym typeface="Wingdings" panose="05000000000000000000" pitchFamily="2" charset="2"/>
            </a:endParaRPr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971" y="4579388"/>
            <a:ext cx="10623611" cy="16971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72972" y="114547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72972" y="1716051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72972" y="2286624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72972" y="2834592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72972" y="3405165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72972" y="397573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3160450" y="4579388"/>
            <a:ext cx="3861787" cy="1068255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9.1.3</a:t>
            </a:r>
            <a:r>
              <a:rPr lang="zh-CN" altLang="en-US" sz="2800" b="1" dirty="0">
                <a:solidFill>
                  <a:schemeClr val="bg1"/>
                </a:solidFill>
              </a:rPr>
              <a:t>索引组织方式</a:t>
            </a:r>
          </a:p>
        </p:txBody>
      </p:sp>
      <p:grpSp>
        <p:nvGrpSpPr>
          <p:cNvPr id="23" name="iṡļiḓe"/>
          <p:cNvGrpSpPr/>
          <p:nvPr/>
        </p:nvGrpSpPr>
        <p:grpSpPr>
          <a:xfrm>
            <a:off x="669925" y="1318451"/>
            <a:ext cx="8821602" cy="1068227"/>
            <a:chOff x="660400" y="1787149"/>
            <a:chExt cx="8821602" cy="1068227"/>
          </a:xfrm>
        </p:grpSpPr>
        <p:grpSp>
          <p:nvGrpSpPr>
            <p:cNvPr id="25" name="iSḻíḓè"/>
            <p:cNvGrpSpPr/>
            <p:nvPr/>
          </p:nvGrpSpPr>
          <p:grpSpPr>
            <a:xfrm>
              <a:off x="1296567" y="1835355"/>
              <a:ext cx="8185435" cy="1020021"/>
              <a:chOff x="1296567" y="1835355"/>
              <a:chExt cx="10323883" cy="1020021"/>
            </a:xfrm>
          </p:grpSpPr>
          <p:sp>
            <p:nvSpPr>
              <p:cNvPr id="33" name="îṧľîḋé"/>
              <p:cNvSpPr txBox="1"/>
              <p:nvPr/>
            </p:nvSpPr>
            <p:spPr>
              <a:xfrm>
                <a:off x="1296567" y="1835355"/>
                <a:ext cx="2989871" cy="389423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r>
                  <a:rPr lang="zh-CN" altLang="en-US" sz="2400" dirty="0"/>
                  <a:t>链接方式的缺点</a:t>
                </a:r>
              </a:p>
            </p:txBody>
          </p:sp>
          <p:sp>
            <p:nvSpPr>
              <p:cNvPr id="37" name="íşļîḓé"/>
              <p:cNvSpPr/>
              <p:nvPr/>
            </p:nvSpPr>
            <p:spPr bwMode="auto">
              <a:xfrm>
                <a:off x="1296567" y="2234688"/>
                <a:ext cx="4813594" cy="6206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342900" lvl="1" indent="-342900">
                  <a:lnSpc>
                    <a:spcPct val="132000"/>
                  </a:lnSpc>
                  <a:buClr>
                    <a:schemeClr val="accent4">
                      <a:lumMod val="40000"/>
                      <a:lumOff val="60000"/>
                    </a:schemeClr>
                  </a:buClr>
                  <a:buFont typeface="Wingdings" panose="05000000000000000000" pitchFamily="2" charset="2"/>
                  <a:buChar char="Ø"/>
                </a:pPr>
                <a:r>
                  <a:rPr lang="zh-CN" altLang="en-US" sz="2200" dirty="0"/>
                  <a:t>不能支持高效的直接存取</a:t>
                </a:r>
              </a:p>
            </p:txBody>
          </p:sp>
          <p:sp>
            <p:nvSpPr>
              <p:cNvPr id="82" name="íşļîḓé"/>
              <p:cNvSpPr/>
              <p:nvPr/>
            </p:nvSpPr>
            <p:spPr bwMode="auto">
              <a:xfrm>
                <a:off x="6413578" y="2233257"/>
                <a:ext cx="5206872" cy="5232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342900" lvl="1" indent="-342900">
                  <a:lnSpc>
                    <a:spcPct val="132000"/>
                  </a:lnSpc>
                  <a:buClr>
                    <a:schemeClr val="accent4">
                      <a:lumMod val="40000"/>
                      <a:lumOff val="60000"/>
                    </a:schemeClr>
                  </a:buClr>
                  <a:buFont typeface="Wingdings" panose="05000000000000000000" pitchFamily="2" charset="2"/>
                  <a:buChar char="Ø"/>
                </a:pPr>
                <a:r>
                  <a:rPr lang="en-US" altLang="zh-CN" sz="2200" dirty="0"/>
                  <a:t>FAT</a:t>
                </a:r>
                <a:r>
                  <a:rPr lang="zh-CN" altLang="en-US" sz="2200" dirty="0"/>
                  <a:t>表需占用较大的内存空间</a:t>
                </a:r>
              </a:p>
            </p:txBody>
          </p:sp>
        </p:grpSp>
        <p:grpSp>
          <p:nvGrpSpPr>
            <p:cNvPr id="30" name="ïS1íḋé"/>
            <p:cNvGrpSpPr/>
            <p:nvPr/>
          </p:nvGrpSpPr>
          <p:grpSpPr>
            <a:xfrm>
              <a:off x="660400" y="1787149"/>
              <a:ext cx="497734" cy="497734"/>
              <a:chOff x="660400" y="1787149"/>
              <a:chExt cx="497734" cy="497734"/>
            </a:xfrm>
          </p:grpSpPr>
          <p:sp>
            <p:nvSpPr>
              <p:cNvPr id="31" name="islîḋe"/>
              <p:cNvSpPr/>
              <p:nvPr/>
            </p:nvSpPr>
            <p:spPr>
              <a:xfrm>
                <a:off x="660400" y="1787149"/>
                <a:ext cx="497734" cy="497734"/>
              </a:xfrm>
              <a:prstGeom prst="ellipse">
                <a:avLst/>
              </a:prstGeom>
              <a:solidFill>
                <a:schemeClr val="accent1"/>
              </a:solidFill>
              <a:ln w="19050">
                <a:solidFill>
                  <a:schemeClr val="bg1"/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2" name="îŝlîďe"/>
              <p:cNvSpPr/>
              <p:nvPr/>
            </p:nvSpPr>
            <p:spPr>
              <a:xfrm>
                <a:off x="779848" y="1918584"/>
                <a:ext cx="258838" cy="234864"/>
              </a:xfrm>
              <a:custGeom>
                <a:avLst/>
                <a:gdLst>
                  <a:gd name="connsiteX0" fmla="*/ 116112 w 607919"/>
                  <a:gd name="connsiteY0" fmla="*/ 473652 h 551610"/>
                  <a:gd name="connsiteX1" fmla="*/ 118901 w 607919"/>
                  <a:gd name="connsiteY1" fmla="*/ 480423 h 551610"/>
                  <a:gd name="connsiteX2" fmla="*/ 118901 w 607919"/>
                  <a:gd name="connsiteY2" fmla="*/ 551610 h 551610"/>
                  <a:gd name="connsiteX3" fmla="*/ 55604 w 607919"/>
                  <a:gd name="connsiteY3" fmla="*/ 551610 h 551610"/>
                  <a:gd name="connsiteX4" fmla="*/ 55604 w 607919"/>
                  <a:gd name="connsiteY4" fmla="*/ 540851 h 551610"/>
                  <a:gd name="connsiteX5" fmla="*/ 65255 w 607919"/>
                  <a:gd name="connsiteY5" fmla="*/ 520583 h 551610"/>
                  <a:gd name="connsiteX6" fmla="*/ 83555 w 607919"/>
                  <a:gd name="connsiteY6" fmla="*/ 502317 h 551610"/>
                  <a:gd name="connsiteX7" fmla="*/ 109375 w 607919"/>
                  <a:gd name="connsiteY7" fmla="*/ 476545 h 551610"/>
                  <a:gd name="connsiteX8" fmla="*/ 116112 w 607919"/>
                  <a:gd name="connsiteY8" fmla="*/ 473652 h 551610"/>
                  <a:gd name="connsiteX9" fmla="*/ 199155 w 607919"/>
                  <a:gd name="connsiteY9" fmla="*/ 390799 h 551610"/>
                  <a:gd name="connsiteX10" fmla="*/ 201956 w 607919"/>
                  <a:gd name="connsiteY10" fmla="*/ 397632 h 551610"/>
                  <a:gd name="connsiteX11" fmla="*/ 201956 w 607919"/>
                  <a:gd name="connsiteY11" fmla="*/ 551610 h 551610"/>
                  <a:gd name="connsiteX12" fmla="*/ 145363 w 607919"/>
                  <a:gd name="connsiteY12" fmla="*/ 551610 h 551610"/>
                  <a:gd name="connsiteX13" fmla="*/ 145363 w 607919"/>
                  <a:gd name="connsiteY13" fmla="*/ 454170 h 551610"/>
                  <a:gd name="connsiteX14" fmla="*/ 154879 w 607919"/>
                  <a:gd name="connsiteY14" fmla="*/ 431030 h 551610"/>
                  <a:gd name="connsiteX15" fmla="*/ 192315 w 607919"/>
                  <a:gd name="connsiteY15" fmla="*/ 393630 h 551610"/>
                  <a:gd name="connsiteX16" fmla="*/ 199155 w 607919"/>
                  <a:gd name="connsiteY16" fmla="*/ 390799 h 551610"/>
                  <a:gd name="connsiteX17" fmla="*/ 231082 w 607919"/>
                  <a:gd name="connsiteY17" fmla="*/ 388245 h 551610"/>
                  <a:gd name="connsiteX18" fmla="*/ 237930 w 607919"/>
                  <a:gd name="connsiteY18" fmla="*/ 391091 h 551610"/>
                  <a:gd name="connsiteX19" fmla="*/ 266763 w 607919"/>
                  <a:gd name="connsiteY19" fmla="*/ 419867 h 551610"/>
                  <a:gd name="connsiteX20" fmla="*/ 275915 w 607919"/>
                  <a:gd name="connsiteY20" fmla="*/ 428875 h 551610"/>
                  <a:gd name="connsiteX21" fmla="*/ 284941 w 607919"/>
                  <a:gd name="connsiteY21" fmla="*/ 451520 h 551610"/>
                  <a:gd name="connsiteX22" fmla="*/ 284941 w 607919"/>
                  <a:gd name="connsiteY22" fmla="*/ 551610 h 551610"/>
                  <a:gd name="connsiteX23" fmla="*/ 228277 w 607919"/>
                  <a:gd name="connsiteY23" fmla="*/ 551610 h 551610"/>
                  <a:gd name="connsiteX24" fmla="*/ 228277 w 607919"/>
                  <a:gd name="connsiteY24" fmla="*/ 394969 h 551610"/>
                  <a:gd name="connsiteX25" fmla="*/ 231082 w 607919"/>
                  <a:gd name="connsiteY25" fmla="*/ 388245 h 551610"/>
                  <a:gd name="connsiteX26" fmla="*/ 365148 w 607919"/>
                  <a:gd name="connsiteY26" fmla="*/ 381336 h 551610"/>
                  <a:gd name="connsiteX27" fmla="*/ 367997 w 607919"/>
                  <a:gd name="connsiteY27" fmla="*/ 388122 h 551610"/>
                  <a:gd name="connsiteX28" fmla="*/ 367997 w 607919"/>
                  <a:gd name="connsiteY28" fmla="*/ 551610 h 551610"/>
                  <a:gd name="connsiteX29" fmla="*/ 311262 w 607919"/>
                  <a:gd name="connsiteY29" fmla="*/ 551610 h 551610"/>
                  <a:gd name="connsiteX30" fmla="*/ 311262 w 607919"/>
                  <a:gd name="connsiteY30" fmla="*/ 444661 h 551610"/>
                  <a:gd name="connsiteX31" fmla="*/ 316898 w 607919"/>
                  <a:gd name="connsiteY31" fmla="*/ 425523 h 551610"/>
                  <a:gd name="connsiteX32" fmla="*/ 322534 w 607919"/>
                  <a:gd name="connsiteY32" fmla="*/ 419894 h 551610"/>
                  <a:gd name="connsiteX33" fmla="*/ 358353 w 607919"/>
                  <a:gd name="connsiteY33" fmla="*/ 384120 h 551610"/>
                  <a:gd name="connsiteX34" fmla="*/ 365148 w 607919"/>
                  <a:gd name="connsiteY34" fmla="*/ 381336 h 551610"/>
                  <a:gd name="connsiteX35" fmla="*/ 448177 w 607919"/>
                  <a:gd name="connsiteY35" fmla="*/ 298352 h 551610"/>
                  <a:gd name="connsiteX36" fmla="*/ 450982 w 607919"/>
                  <a:gd name="connsiteY36" fmla="*/ 305139 h 551610"/>
                  <a:gd name="connsiteX37" fmla="*/ 450982 w 607919"/>
                  <a:gd name="connsiteY37" fmla="*/ 551610 h 551610"/>
                  <a:gd name="connsiteX38" fmla="*/ 394318 w 607919"/>
                  <a:gd name="connsiteY38" fmla="*/ 551610 h 551610"/>
                  <a:gd name="connsiteX39" fmla="*/ 394318 w 607919"/>
                  <a:gd name="connsiteY39" fmla="*/ 361815 h 551610"/>
                  <a:gd name="connsiteX40" fmla="*/ 403846 w 607919"/>
                  <a:gd name="connsiteY40" fmla="*/ 338669 h 551610"/>
                  <a:gd name="connsiteX41" fmla="*/ 441329 w 607919"/>
                  <a:gd name="connsiteY41" fmla="*/ 301136 h 551610"/>
                  <a:gd name="connsiteX42" fmla="*/ 448177 w 607919"/>
                  <a:gd name="connsiteY42" fmla="*/ 298352 h 551610"/>
                  <a:gd name="connsiteX43" fmla="*/ 527085 w 607919"/>
                  <a:gd name="connsiteY43" fmla="*/ 219452 h 551610"/>
                  <a:gd name="connsiteX44" fmla="*/ 529874 w 607919"/>
                  <a:gd name="connsiteY44" fmla="*/ 226177 h 551610"/>
                  <a:gd name="connsiteX45" fmla="*/ 529874 w 607919"/>
                  <a:gd name="connsiteY45" fmla="*/ 551610 h 551610"/>
                  <a:gd name="connsiteX46" fmla="*/ 477232 w 607919"/>
                  <a:gd name="connsiteY46" fmla="*/ 551610 h 551610"/>
                  <a:gd name="connsiteX47" fmla="*/ 477232 w 607919"/>
                  <a:gd name="connsiteY47" fmla="*/ 278727 h 551610"/>
                  <a:gd name="connsiteX48" fmla="*/ 486883 w 607919"/>
                  <a:gd name="connsiteY48" fmla="*/ 255580 h 551610"/>
                  <a:gd name="connsiteX49" fmla="*/ 520348 w 607919"/>
                  <a:gd name="connsiteY49" fmla="*/ 222298 h 551610"/>
                  <a:gd name="connsiteX50" fmla="*/ 527085 w 607919"/>
                  <a:gd name="connsiteY50" fmla="*/ 219452 h 551610"/>
                  <a:gd name="connsiteX51" fmla="*/ 387769 w 607919"/>
                  <a:gd name="connsiteY51" fmla="*/ 0 h 551610"/>
                  <a:gd name="connsiteX52" fmla="*/ 580729 w 607919"/>
                  <a:gd name="connsiteY52" fmla="*/ 0 h 551610"/>
                  <a:gd name="connsiteX53" fmla="*/ 607919 w 607919"/>
                  <a:gd name="connsiteY53" fmla="*/ 26022 h 551610"/>
                  <a:gd name="connsiteX54" fmla="*/ 607919 w 607919"/>
                  <a:gd name="connsiteY54" fmla="*/ 219812 h 551610"/>
                  <a:gd name="connsiteX55" fmla="*/ 598271 w 607919"/>
                  <a:gd name="connsiteY55" fmla="*/ 223815 h 551610"/>
                  <a:gd name="connsiteX56" fmla="*/ 530610 w 607919"/>
                  <a:gd name="connsiteY56" fmla="*/ 156258 h 551610"/>
                  <a:gd name="connsiteX57" fmla="*/ 304320 w 607919"/>
                  <a:gd name="connsiteY57" fmla="*/ 382325 h 551610"/>
                  <a:gd name="connsiteX58" fmla="*/ 285024 w 607919"/>
                  <a:gd name="connsiteY58" fmla="*/ 382325 h 551610"/>
                  <a:gd name="connsiteX59" fmla="*/ 216360 w 607919"/>
                  <a:gd name="connsiteY59" fmla="*/ 313767 h 551610"/>
                  <a:gd name="connsiteX60" fmla="*/ 94068 w 607919"/>
                  <a:gd name="connsiteY60" fmla="*/ 435996 h 551610"/>
                  <a:gd name="connsiteX61" fmla="*/ 17260 w 607919"/>
                  <a:gd name="connsiteY61" fmla="*/ 435996 h 551610"/>
                  <a:gd name="connsiteX62" fmla="*/ 15882 w 607919"/>
                  <a:gd name="connsiteY62" fmla="*/ 434745 h 551610"/>
                  <a:gd name="connsiteX63" fmla="*/ 15882 w 607919"/>
                  <a:gd name="connsiteY63" fmla="*/ 358055 h 551610"/>
                  <a:gd name="connsiteX64" fmla="*/ 206837 w 607919"/>
                  <a:gd name="connsiteY64" fmla="*/ 167267 h 551610"/>
                  <a:gd name="connsiteX65" fmla="*/ 226008 w 607919"/>
                  <a:gd name="connsiteY65" fmla="*/ 167267 h 551610"/>
                  <a:gd name="connsiteX66" fmla="*/ 294672 w 607919"/>
                  <a:gd name="connsiteY66" fmla="*/ 235701 h 551610"/>
                  <a:gd name="connsiteX67" fmla="*/ 424481 w 607919"/>
                  <a:gd name="connsiteY67" fmla="*/ 105965 h 551610"/>
                  <a:gd name="connsiteX68" fmla="*/ 452423 w 607919"/>
                  <a:gd name="connsiteY68" fmla="*/ 78192 h 551610"/>
                  <a:gd name="connsiteX69" fmla="*/ 383885 w 607919"/>
                  <a:gd name="connsiteY69" fmla="*/ 9633 h 551610"/>
                  <a:gd name="connsiteX70" fmla="*/ 387769 w 607919"/>
                  <a:gd name="connsiteY70" fmla="*/ 0 h 551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607919" h="551610">
                    <a:moveTo>
                      <a:pt x="116112" y="473652"/>
                    </a:moveTo>
                    <a:cubicBezTo>
                      <a:pt x="117836" y="474356"/>
                      <a:pt x="118901" y="476670"/>
                      <a:pt x="118901" y="480423"/>
                    </a:cubicBezTo>
                    <a:lnTo>
                      <a:pt x="118901" y="551610"/>
                    </a:lnTo>
                    <a:lnTo>
                      <a:pt x="55604" y="551610"/>
                    </a:lnTo>
                    <a:lnTo>
                      <a:pt x="55604" y="540851"/>
                    </a:lnTo>
                    <a:cubicBezTo>
                      <a:pt x="55604" y="534971"/>
                      <a:pt x="59991" y="525838"/>
                      <a:pt x="65255" y="520583"/>
                    </a:cubicBezTo>
                    <a:lnTo>
                      <a:pt x="83555" y="502317"/>
                    </a:lnTo>
                    <a:lnTo>
                      <a:pt x="109375" y="476545"/>
                    </a:lnTo>
                    <a:cubicBezTo>
                      <a:pt x="112007" y="473855"/>
                      <a:pt x="114389" y="472948"/>
                      <a:pt x="116112" y="473652"/>
                    </a:cubicBezTo>
                    <a:close/>
                    <a:moveTo>
                      <a:pt x="199155" y="390799"/>
                    </a:moveTo>
                    <a:cubicBezTo>
                      <a:pt x="200892" y="391534"/>
                      <a:pt x="201956" y="393880"/>
                      <a:pt x="201956" y="397632"/>
                    </a:cubicBezTo>
                    <a:lnTo>
                      <a:pt x="201956" y="551610"/>
                    </a:lnTo>
                    <a:lnTo>
                      <a:pt x="145363" y="551610"/>
                    </a:lnTo>
                    <a:lnTo>
                      <a:pt x="145363" y="454170"/>
                    </a:lnTo>
                    <a:cubicBezTo>
                      <a:pt x="145363" y="446665"/>
                      <a:pt x="149620" y="436283"/>
                      <a:pt x="154879" y="431030"/>
                    </a:cubicBezTo>
                    <a:lnTo>
                      <a:pt x="192315" y="393630"/>
                    </a:lnTo>
                    <a:cubicBezTo>
                      <a:pt x="195007" y="390941"/>
                      <a:pt x="197417" y="390065"/>
                      <a:pt x="199155" y="390799"/>
                    </a:cubicBezTo>
                    <a:close/>
                    <a:moveTo>
                      <a:pt x="231082" y="388245"/>
                    </a:moveTo>
                    <a:cubicBezTo>
                      <a:pt x="232822" y="387525"/>
                      <a:pt x="235235" y="388401"/>
                      <a:pt x="237930" y="391091"/>
                    </a:cubicBezTo>
                    <a:lnTo>
                      <a:pt x="266763" y="419867"/>
                    </a:lnTo>
                    <a:lnTo>
                      <a:pt x="275915" y="428875"/>
                    </a:lnTo>
                    <a:cubicBezTo>
                      <a:pt x="280929" y="433879"/>
                      <a:pt x="284941" y="444013"/>
                      <a:pt x="284941" y="451520"/>
                    </a:cubicBezTo>
                    <a:lnTo>
                      <a:pt x="284941" y="551610"/>
                    </a:lnTo>
                    <a:lnTo>
                      <a:pt x="228277" y="551610"/>
                    </a:lnTo>
                    <a:lnTo>
                      <a:pt x="228277" y="394969"/>
                    </a:lnTo>
                    <a:cubicBezTo>
                      <a:pt x="228277" y="391278"/>
                      <a:pt x="229343" y="388964"/>
                      <a:pt x="231082" y="388245"/>
                    </a:cubicBezTo>
                    <a:close/>
                    <a:moveTo>
                      <a:pt x="365148" y="381336"/>
                    </a:moveTo>
                    <a:cubicBezTo>
                      <a:pt x="366901" y="382055"/>
                      <a:pt x="367997" y="384370"/>
                      <a:pt x="367997" y="388122"/>
                    </a:cubicBezTo>
                    <a:lnTo>
                      <a:pt x="367997" y="551610"/>
                    </a:lnTo>
                    <a:lnTo>
                      <a:pt x="311262" y="551610"/>
                    </a:lnTo>
                    <a:lnTo>
                      <a:pt x="311262" y="444661"/>
                    </a:lnTo>
                    <a:cubicBezTo>
                      <a:pt x="311262" y="437156"/>
                      <a:pt x="313767" y="428650"/>
                      <a:pt x="316898" y="425523"/>
                    </a:cubicBezTo>
                    <a:cubicBezTo>
                      <a:pt x="320029" y="422396"/>
                      <a:pt x="322534" y="419894"/>
                      <a:pt x="322534" y="419894"/>
                    </a:cubicBezTo>
                    <a:lnTo>
                      <a:pt x="358353" y="384120"/>
                    </a:lnTo>
                    <a:cubicBezTo>
                      <a:pt x="360983" y="381493"/>
                      <a:pt x="363394" y="380617"/>
                      <a:pt x="365148" y="381336"/>
                    </a:cubicBezTo>
                    <a:close/>
                    <a:moveTo>
                      <a:pt x="448177" y="298352"/>
                    </a:moveTo>
                    <a:cubicBezTo>
                      <a:pt x="449916" y="299071"/>
                      <a:pt x="450982" y="301386"/>
                      <a:pt x="450982" y="305139"/>
                    </a:cubicBezTo>
                    <a:lnTo>
                      <a:pt x="450982" y="551610"/>
                    </a:lnTo>
                    <a:lnTo>
                      <a:pt x="394318" y="551610"/>
                    </a:lnTo>
                    <a:lnTo>
                      <a:pt x="394318" y="361815"/>
                    </a:lnTo>
                    <a:cubicBezTo>
                      <a:pt x="394318" y="354308"/>
                      <a:pt x="398580" y="343924"/>
                      <a:pt x="403846" y="338669"/>
                    </a:cubicBezTo>
                    <a:lnTo>
                      <a:pt x="441329" y="301136"/>
                    </a:lnTo>
                    <a:cubicBezTo>
                      <a:pt x="444024" y="298508"/>
                      <a:pt x="446438" y="297633"/>
                      <a:pt x="448177" y="298352"/>
                    </a:cubicBezTo>
                    <a:close/>
                    <a:moveTo>
                      <a:pt x="527085" y="219452"/>
                    </a:moveTo>
                    <a:cubicBezTo>
                      <a:pt x="528809" y="220171"/>
                      <a:pt x="529874" y="222486"/>
                      <a:pt x="529874" y="226177"/>
                    </a:cubicBezTo>
                    <a:lnTo>
                      <a:pt x="529874" y="551610"/>
                    </a:lnTo>
                    <a:lnTo>
                      <a:pt x="477232" y="551610"/>
                    </a:lnTo>
                    <a:lnTo>
                      <a:pt x="477232" y="278727"/>
                    </a:lnTo>
                    <a:cubicBezTo>
                      <a:pt x="477232" y="271345"/>
                      <a:pt x="481494" y="260960"/>
                      <a:pt x="486883" y="255580"/>
                    </a:cubicBezTo>
                    <a:lnTo>
                      <a:pt x="520348" y="222298"/>
                    </a:lnTo>
                    <a:cubicBezTo>
                      <a:pt x="522980" y="219608"/>
                      <a:pt x="525362" y="218732"/>
                      <a:pt x="527085" y="219452"/>
                    </a:cubicBezTo>
                    <a:close/>
                    <a:moveTo>
                      <a:pt x="387769" y="0"/>
                    </a:moveTo>
                    <a:lnTo>
                      <a:pt x="580729" y="0"/>
                    </a:lnTo>
                    <a:cubicBezTo>
                      <a:pt x="594512" y="0"/>
                      <a:pt x="607919" y="12135"/>
                      <a:pt x="607919" y="26022"/>
                    </a:cubicBezTo>
                    <a:lnTo>
                      <a:pt x="607919" y="219812"/>
                    </a:lnTo>
                    <a:cubicBezTo>
                      <a:pt x="607919" y="227318"/>
                      <a:pt x="603534" y="229070"/>
                      <a:pt x="598271" y="223815"/>
                    </a:cubicBezTo>
                    <a:lnTo>
                      <a:pt x="530610" y="156258"/>
                    </a:lnTo>
                    <a:lnTo>
                      <a:pt x="304320" y="382325"/>
                    </a:lnTo>
                    <a:cubicBezTo>
                      <a:pt x="298932" y="387580"/>
                      <a:pt x="290412" y="387580"/>
                      <a:pt x="285024" y="382325"/>
                    </a:cubicBezTo>
                    <a:lnTo>
                      <a:pt x="216360" y="313767"/>
                    </a:lnTo>
                    <a:lnTo>
                      <a:pt x="94068" y="435996"/>
                    </a:lnTo>
                    <a:cubicBezTo>
                      <a:pt x="72767" y="457264"/>
                      <a:pt x="38435" y="457264"/>
                      <a:pt x="17260" y="435996"/>
                    </a:cubicBezTo>
                    <a:lnTo>
                      <a:pt x="15882" y="434745"/>
                    </a:lnTo>
                    <a:cubicBezTo>
                      <a:pt x="-5294" y="413477"/>
                      <a:pt x="-5294" y="379198"/>
                      <a:pt x="15882" y="358055"/>
                    </a:cubicBezTo>
                    <a:lnTo>
                      <a:pt x="206837" y="167267"/>
                    </a:lnTo>
                    <a:cubicBezTo>
                      <a:pt x="212100" y="161888"/>
                      <a:pt x="220745" y="161888"/>
                      <a:pt x="226008" y="167267"/>
                    </a:cubicBezTo>
                    <a:lnTo>
                      <a:pt x="294672" y="235701"/>
                    </a:lnTo>
                    <a:lnTo>
                      <a:pt x="424481" y="105965"/>
                    </a:lnTo>
                    <a:lnTo>
                      <a:pt x="452423" y="78192"/>
                    </a:lnTo>
                    <a:lnTo>
                      <a:pt x="383885" y="9633"/>
                    </a:lnTo>
                    <a:cubicBezTo>
                      <a:pt x="378497" y="4379"/>
                      <a:pt x="380376" y="0"/>
                      <a:pt x="38776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38" name="iṡļiḓe"/>
          <p:cNvGrpSpPr/>
          <p:nvPr/>
        </p:nvGrpSpPr>
        <p:grpSpPr>
          <a:xfrm>
            <a:off x="1436928" y="2448186"/>
            <a:ext cx="9128621" cy="497734"/>
            <a:chOff x="660400" y="1787149"/>
            <a:chExt cx="9128621" cy="497734"/>
          </a:xfrm>
        </p:grpSpPr>
        <p:sp>
          <p:nvSpPr>
            <p:cNvPr id="43" name="îṧľîḋé"/>
            <p:cNvSpPr txBox="1"/>
            <p:nvPr/>
          </p:nvSpPr>
          <p:spPr>
            <a:xfrm>
              <a:off x="1296567" y="1835355"/>
              <a:ext cx="8492454" cy="389423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zh-CN" altLang="en-US" sz="2400" dirty="0">
                  <a:solidFill>
                    <a:srgbClr val="0000FF"/>
                  </a:solidFill>
                </a:rPr>
                <a:t>索引方式</a:t>
              </a:r>
              <a:r>
                <a:rPr lang="zh-CN" altLang="en-US" sz="2400" dirty="0"/>
                <a:t>：</a:t>
              </a:r>
              <a:r>
                <a:rPr lang="zh-CN" altLang="en-US" sz="2400" dirty="0">
                  <a:solidFill>
                    <a:srgbClr val="FF0000"/>
                  </a:solidFill>
                </a:rPr>
                <a:t>把所有的磁盘块号放在一个索引块</a:t>
              </a:r>
              <a:r>
                <a:rPr lang="en-US" altLang="zh-CN" sz="2400" dirty="0">
                  <a:solidFill>
                    <a:srgbClr val="FF0000"/>
                  </a:solidFill>
                </a:rPr>
                <a:t>(</a:t>
              </a:r>
              <a:r>
                <a:rPr lang="zh-CN" altLang="en-US" sz="2400" dirty="0">
                  <a:solidFill>
                    <a:srgbClr val="FF0000"/>
                  </a:solidFill>
                </a:rPr>
                <a:t>表</a:t>
              </a:r>
              <a:r>
                <a:rPr lang="en-US" altLang="zh-CN" sz="2400" dirty="0">
                  <a:solidFill>
                    <a:srgbClr val="FF0000"/>
                  </a:solidFill>
                </a:rPr>
                <a:t>)</a:t>
              </a:r>
              <a:r>
                <a:rPr lang="zh-CN" altLang="en-US" sz="2400" dirty="0">
                  <a:solidFill>
                    <a:srgbClr val="FF0000"/>
                  </a:solidFill>
                </a:rPr>
                <a:t>中</a:t>
              </a:r>
            </a:p>
          </p:txBody>
        </p:sp>
        <p:grpSp>
          <p:nvGrpSpPr>
            <p:cNvPr id="40" name="ïS1íḋé"/>
            <p:cNvGrpSpPr/>
            <p:nvPr/>
          </p:nvGrpSpPr>
          <p:grpSpPr>
            <a:xfrm>
              <a:off x="660400" y="1787149"/>
              <a:ext cx="497734" cy="497734"/>
              <a:chOff x="660400" y="1787149"/>
              <a:chExt cx="497734" cy="497734"/>
            </a:xfrm>
          </p:grpSpPr>
          <p:sp>
            <p:nvSpPr>
              <p:cNvPr id="41" name="islîḋe"/>
              <p:cNvSpPr/>
              <p:nvPr/>
            </p:nvSpPr>
            <p:spPr>
              <a:xfrm>
                <a:off x="660400" y="1787149"/>
                <a:ext cx="497734" cy="497734"/>
              </a:xfrm>
              <a:prstGeom prst="ellipse">
                <a:avLst/>
              </a:prstGeom>
              <a:solidFill>
                <a:schemeClr val="accent1"/>
              </a:solidFill>
              <a:ln w="19050">
                <a:solidFill>
                  <a:schemeClr val="bg1"/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2" name="îŝlîďe"/>
              <p:cNvSpPr/>
              <p:nvPr/>
            </p:nvSpPr>
            <p:spPr>
              <a:xfrm>
                <a:off x="779848" y="1918584"/>
                <a:ext cx="258838" cy="234864"/>
              </a:xfrm>
              <a:custGeom>
                <a:avLst/>
                <a:gdLst>
                  <a:gd name="connsiteX0" fmla="*/ 116112 w 607919"/>
                  <a:gd name="connsiteY0" fmla="*/ 473652 h 551610"/>
                  <a:gd name="connsiteX1" fmla="*/ 118901 w 607919"/>
                  <a:gd name="connsiteY1" fmla="*/ 480423 h 551610"/>
                  <a:gd name="connsiteX2" fmla="*/ 118901 w 607919"/>
                  <a:gd name="connsiteY2" fmla="*/ 551610 h 551610"/>
                  <a:gd name="connsiteX3" fmla="*/ 55604 w 607919"/>
                  <a:gd name="connsiteY3" fmla="*/ 551610 h 551610"/>
                  <a:gd name="connsiteX4" fmla="*/ 55604 w 607919"/>
                  <a:gd name="connsiteY4" fmla="*/ 540851 h 551610"/>
                  <a:gd name="connsiteX5" fmla="*/ 65255 w 607919"/>
                  <a:gd name="connsiteY5" fmla="*/ 520583 h 551610"/>
                  <a:gd name="connsiteX6" fmla="*/ 83555 w 607919"/>
                  <a:gd name="connsiteY6" fmla="*/ 502317 h 551610"/>
                  <a:gd name="connsiteX7" fmla="*/ 109375 w 607919"/>
                  <a:gd name="connsiteY7" fmla="*/ 476545 h 551610"/>
                  <a:gd name="connsiteX8" fmla="*/ 116112 w 607919"/>
                  <a:gd name="connsiteY8" fmla="*/ 473652 h 551610"/>
                  <a:gd name="connsiteX9" fmla="*/ 199155 w 607919"/>
                  <a:gd name="connsiteY9" fmla="*/ 390799 h 551610"/>
                  <a:gd name="connsiteX10" fmla="*/ 201956 w 607919"/>
                  <a:gd name="connsiteY10" fmla="*/ 397632 h 551610"/>
                  <a:gd name="connsiteX11" fmla="*/ 201956 w 607919"/>
                  <a:gd name="connsiteY11" fmla="*/ 551610 h 551610"/>
                  <a:gd name="connsiteX12" fmla="*/ 145363 w 607919"/>
                  <a:gd name="connsiteY12" fmla="*/ 551610 h 551610"/>
                  <a:gd name="connsiteX13" fmla="*/ 145363 w 607919"/>
                  <a:gd name="connsiteY13" fmla="*/ 454170 h 551610"/>
                  <a:gd name="connsiteX14" fmla="*/ 154879 w 607919"/>
                  <a:gd name="connsiteY14" fmla="*/ 431030 h 551610"/>
                  <a:gd name="connsiteX15" fmla="*/ 192315 w 607919"/>
                  <a:gd name="connsiteY15" fmla="*/ 393630 h 551610"/>
                  <a:gd name="connsiteX16" fmla="*/ 199155 w 607919"/>
                  <a:gd name="connsiteY16" fmla="*/ 390799 h 551610"/>
                  <a:gd name="connsiteX17" fmla="*/ 231082 w 607919"/>
                  <a:gd name="connsiteY17" fmla="*/ 388245 h 551610"/>
                  <a:gd name="connsiteX18" fmla="*/ 237930 w 607919"/>
                  <a:gd name="connsiteY18" fmla="*/ 391091 h 551610"/>
                  <a:gd name="connsiteX19" fmla="*/ 266763 w 607919"/>
                  <a:gd name="connsiteY19" fmla="*/ 419867 h 551610"/>
                  <a:gd name="connsiteX20" fmla="*/ 275915 w 607919"/>
                  <a:gd name="connsiteY20" fmla="*/ 428875 h 551610"/>
                  <a:gd name="connsiteX21" fmla="*/ 284941 w 607919"/>
                  <a:gd name="connsiteY21" fmla="*/ 451520 h 551610"/>
                  <a:gd name="connsiteX22" fmla="*/ 284941 w 607919"/>
                  <a:gd name="connsiteY22" fmla="*/ 551610 h 551610"/>
                  <a:gd name="connsiteX23" fmla="*/ 228277 w 607919"/>
                  <a:gd name="connsiteY23" fmla="*/ 551610 h 551610"/>
                  <a:gd name="connsiteX24" fmla="*/ 228277 w 607919"/>
                  <a:gd name="connsiteY24" fmla="*/ 394969 h 551610"/>
                  <a:gd name="connsiteX25" fmla="*/ 231082 w 607919"/>
                  <a:gd name="connsiteY25" fmla="*/ 388245 h 551610"/>
                  <a:gd name="connsiteX26" fmla="*/ 365148 w 607919"/>
                  <a:gd name="connsiteY26" fmla="*/ 381336 h 551610"/>
                  <a:gd name="connsiteX27" fmla="*/ 367997 w 607919"/>
                  <a:gd name="connsiteY27" fmla="*/ 388122 h 551610"/>
                  <a:gd name="connsiteX28" fmla="*/ 367997 w 607919"/>
                  <a:gd name="connsiteY28" fmla="*/ 551610 h 551610"/>
                  <a:gd name="connsiteX29" fmla="*/ 311262 w 607919"/>
                  <a:gd name="connsiteY29" fmla="*/ 551610 h 551610"/>
                  <a:gd name="connsiteX30" fmla="*/ 311262 w 607919"/>
                  <a:gd name="connsiteY30" fmla="*/ 444661 h 551610"/>
                  <a:gd name="connsiteX31" fmla="*/ 316898 w 607919"/>
                  <a:gd name="connsiteY31" fmla="*/ 425523 h 551610"/>
                  <a:gd name="connsiteX32" fmla="*/ 322534 w 607919"/>
                  <a:gd name="connsiteY32" fmla="*/ 419894 h 551610"/>
                  <a:gd name="connsiteX33" fmla="*/ 358353 w 607919"/>
                  <a:gd name="connsiteY33" fmla="*/ 384120 h 551610"/>
                  <a:gd name="connsiteX34" fmla="*/ 365148 w 607919"/>
                  <a:gd name="connsiteY34" fmla="*/ 381336 h 551610"/>
                  <a:gd name="connsiteX35" fmla="*/ 448177 w 607919"/>
                  <a:gd name="connsiteY35" fmla="*/ 298352 h 551610"/>
                  <a:gd name="connsiteX36" fmla="*/ 450982 w 607919"/>
                  <a:gd name="connsiteY36" fmla="*/ 305139 h 551610"/>
                  <a:gd name="connsiteX37" fmla="*/ 450982 w 607919"/>
                  <a:gd name="connsiteY37" fmla="*/ 551610 h 551610"/>
                  <a:gd name="connsiteX38" fmla="*/ 394318 w 607919"/>
                  <a:gd name="connsiteY38" fmla="*/ 551610 h 551610"/>
                  <a:gd name="connsiteX39" fmla="*/ 394318 w 607919"/>
                  <a:gd name="connsiteY39" fmla="*/ 361815 h 551610"/>
                  <a:gd name="connsiteX40" fmla="*/ 403846 w 607919"/>
                  <a:gd name="connsiteY40" fmla="*/ 338669 h 551610"/>
                  <a:gd name="connsiteX41" fmla="*/ 441329 w 607919"/>
                  <a:gd name="connsiteY41" fmla="*/ 301136 h 551610"/>
                  <a:gd name="connsiteX42" fmla="*/ 448177 w 607919"/>
                  <a:gd name="connsiteY42" fmla="*/ 298352 h 551610"/>
                  <a:gd name="connsiteX43" fmla="*/ 527085 w 607919"/>
                  <a:gd name="connsiteY43" fmla="*/ 219452 h 551610"/>
                  <a:gd name="connsiteX44" fmla="*/ 529874 w 607919"/>
                  <a:gd name="connsiteY44" fmla="*/ 226177 h 551610"/>
                  <a:gd name="connsiteX45" fmla="*/ 529874 w 607919"/>
                  <a:gd name="connsiteY45" fmla="*/ 551610 h 551610"/>
                  <a:gd name="connsiteX46" fmla="*/ 477232 w 607919"/>
                  <a:gd name="connsiteY46" fmla="*/ 551610 h 551610"/>
                  <a:gd name="connsiteX47" fmla="*/ 477232 w 607919"/>
                  <a:gd name="connsiteY47" fmla="*/ 278727 h 551610"/>
                  <a:gd name="connsiteX48" fmla="*/ 486883 w 607919"/>
                  <a:gd name="connsiteY48" fmla="*/ 255580 h 551610"/>
                  <a:gd name="connsiteX49" fmla="*/ 520348 w 607919"/>
                  <a:gd name="connsiteY49" fmla="*/ 222298 h 551610"/>
                  <a:gd name="connsiteX50" fmla="*/ 527085 w 607919"/>
                  <a:gd name="connsiteY50" fmla="*/ 219452 h 551610"/>
                  <a:gd name="connsiteX51" fmla="*/ 387769 w 607919"/>
                  <a:gd name="connsiteY51" fmla="*/ 0 h 551610"/>
                  <a:gd name="connsiteX52" fmla="*/ 580729 w 607919"/>
                  <a:gd name="connsiteY52" fmla="*/ 0 h 551610"/>
                  <a:gd name="connsiteX53" fmla="*/ 607919 w 607919"/>
                  <a:gd name="connsiteY53" fmla="*/ 26022 h 551610"/>
                  <a:gd name="connsiteX54" fmla="*/ 607919 w 607919"/>
                  <a:gd name="connsiteY54" fmla="*/ 219812 h 551610"/>
                  <a:gd name="connsiteX55" fmla="*/ 598271 w 607919"/>
                  <a:gd name="connsiteY55" fmla="*/ 223815 h 551610"/>
                  <a:gd name="connsiteX56" fmla="*/ 530610 w 607919"/>
                  <a:gd name="connsiteY56" fmla="*/ 156258 h 551610"/>
                  <a:gd name="connsiteX57" fmla="*/ 304320 w 607919"/>
                  <a:gd name="connsiteY57" fmla="*/ 382325 h 551610"/>
                  <a:gd name="connsiteX58" fmla="*/ 285024 w 607919"/>
                  <a:gd name="connsiteY58" fmla="*/ 382325 h 551610"/>
                  <a:gd name="connsiteX59" fmla="*/ 216360 w 607919"/>
                  <a:gd name="connsiteY59" fmla="*/ 313767 h 551610"/>
                  <a:gd name="connsiteX60" fmla="*/ 94068 w 607919"/>
                  <a:gd name="connsiteY60" fmla="*/ 435996 h 551610"/>
                  <a:gd name="connsiteX61" fmla="*/ 17260 w 607919"/>
                  <a:gd name="connsiteY61" fmla="*/ 435996 h 551610"/>
                  <a:gd name="connsiteX62" fmla="*/ 15882 w 607919"/>
                  <a:gd name="connsiteY62" fmla="*/ 434745 h 551610"/>
                  <a:gd name="connsiteX63" fmla="*/ 15882 w 607919"/>
                  <a:gd name="connsiteY63" fmla="*/ 358055 h 551610"/>
                  <a:gd name="connsiteX64" fmla="*/ 206837 w 607919"/>
                  <a:gd name="connsiteY64" fmla="*/ 167267 h 551610"/>
                  <a:gd name="connsiteX65" fmla="*/ 226008 w 607919"/>
                  <a:gd name="connsiteY65" fmla="*/ 167267 h 551610"/>
                  <a:gd name="connsiteX66" fmla="*/ 294672 w 607919"/>
                  <a:gd name="connsiteY66" fmla="*/ 235701 h 551610"/>
                  <a:gd name="connsiteX67" fmla="*/ 424481 w 607919"/>
                  <a:gd name="connsiteY67" fmla="*/ 105965 h 551610"/>
                  <a:gd name="connsiteX68" fmla="*/ 452423 w 607919"/>
                  <a:gd name="connsiteY68" fmla="*/ 78192 h 551610"/>
                  <a:gd name="connsiteX69" fmla="*/ 383885 w 607919"/>
                  <a:gd name="connsiteY69" fmla="*/ 9633 h 551610"/>
                  <a:gd name="connsiteX70" fmla="*/ 387769 w 607919"/>
                  <a:gd name="connsiteY70" fmla="*/ 0 h 551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607919" h="551610">
                    <a:moveTo>
                      <a:pt x="116112" y="473652"/>
                    </a:moveTo>
                    <a:cubicBezTo>
                      <a:pt x="117836" y="474356"/>
                      <a:pt x="118901" y="476670"/>
                      <a:pt x="118901" y="480423"/>
                    </a:cubicBezTo>
                    <a:lnTo>
                      <a:pt x="118901" y="551610"/>
                    </a:lnTo>
                    <a:lnTo>
                      <a:pt x="55604" y="551610"/>
                    </a:lnTo>
                    <a:lnTo>
                      <a:pt x="55604" y="540851"/>
                    </a:lnTo>
                    <a:cubicBezTo>
                      <a:pt x="55604" y="534971"/>
                      <a:pt x="59991" y="525838"/>
                      <a:pt x="65255" y="520583"/>
                    </a:cubicBezTo>
                    <a:lnTo>
                      <a:pt x="83555" y="502317"/>
                    </a:lnTo>
                    <a:lnTo>
                      <a:pt x="109375" y="476545"/>
                    </a:lnTo>
                    <a:cubicBezTo>
                      <a:pt x="112007" y="473855"/>
                      <a:pt x="114389" y="472948"/>
                      <a:pt x="116112" y="473652"/>
                    </a:cubicBezTo>
                    <a:close/>
                    <a:moveTo>
                      <a:pt x="199155" y="390799"/>
                    </a:moveTo>
                    <a:cubicBezTo>
                      <a:pt x="200892" y="391534"/>
                      <a:pt x="201956" y="393880"/>
                      <a:pt x="201956" y="397632"/>
                    </a:cubicBezTo>
                    <a:lnTo>
                      <a:pt x="201956" y="551610"/>
                    </a:lnTo>
                    <a:lnTo>
                      <a:pt x="145363" y="551610"/>
                    </a:lnTo>
                    <a:lnTo>
                      <a:pt x="145363" y="454170"/>
                    </a:lnTo>
                    <a:cubicBezTo>
                      <a:pt x="145363" y="446665"/>
                      <a:pt x="149620" y="436283"/>
                      <a:pt x="154879" y="431030"/>
                    </a:cubicBezTo>
                    <a:lnTo>
                      <a:pt x="192315" y="393630"/>
                    </a:lnTo>
                    <a:cubicBezTo>
                      <a:pt x="195007" y="390941"/>
                      <a:pt x="197417" y="390065"/>
                      <a:pt x="199155" y="390799"/>
                    </a:cubicBezTo>
                    <a:close/>
                    <a:moveTo>
                      <a:pt x="231082" y="388245"/>
                    </a:moveTo>
                    <a:cubicBezTo>
                      <a:pt x="232822" y="387525"/>
                      <a:pt x="235235" y="388401"/>
                      <a:pt x="237930" y="391091"/>
                    </a:cubicBezTo>
                    <a:lnTo>
                      <a:pt x="266763" y="419867"/>
                    </a:lnTo>
                    <a:lnTo>
                      <a:pt x="275915" y="428875"/>
                    </a:lnTo>
                    <a:cubicBezTo>
                      <a:pt x="280929" y="433879"/>
                      <a:pt x="284941" y="444013"/>
                      <a:pt x="284941" y="451520"/>
                    </a:cubicBezTo>
                    <a:lnTo>
                      <a:pt x="284941" y="551610"/>
                    </a:lnTo>
                    <a:lnTo>
                      <a:pt x="228277" y="551610"/>
                    </a:lnTo>
                    <a:lnTo>
                      <a:pt x="228277" y="394969"/>
                    </a:lnTo>
                    <a:cubicBezTo>
                      <a:pt x="228277" y="391278"/>
                      <a:pt x="229343" y="388964"/>
                      <a:pt x="231082" y="388245"/>
                    </a:cubicBezTo>
                    <a:close/>
                    <a:moveTo>
                      <a:pt x="365148" y="381336"/>
                    </a:moveTo>
                    <a:cubicBezTo>
                      <a:pt x="366901" y="382055"/>
                      <a:pt x="367997" y="384370"/>
                      <a:pt x="367997" y="388122"/>
                    </a:cubicBezTo>
                    <a:lnTo>
                      <a:pt x="367997" y="551610"/>
                    </a:lnTo>
                    <a:lnTo>
                      <a:pt x="311262" y="551610"/>
                    </a:lnTo>
                    <a:lnTo>
                      <a:pt x="311262" y="444661"/>
                    </a:lnTo>
                    <a:cubicBezTo>
                      <a:pt x="311262" y="437156"/>
                      <a:pt x="313767" y="428650"/>
                      <a:pt x="316898" y="425523"/>
                    </a:cubicBezTo>
                    <a:cubicBezTo>
                      <a:pt x="320029" y="422396"/>
                      <a:pt x="322534" y="419894"/>
                      <a:pt x="322534" y="419894"/>
                    </a:cubicBezTo>
                    <a:lnTo>
                      <a:pt x="358353" y="384120"/>
                    </a:lnTo>
                    <a:cubicBezTo>
                      <a:pt x="360983" y="381493"/>
                      <a:pt x="363394" y="380617"/>
                      <a:pt x="365148" y="381336"/>
                    </a:cubicBezTo>
                    <a:close/>
                    <a:moveTo>
                      <a:pt x="448177" y="298352"/>
                    </a:moveTo>
                    <a:cubicBezTo>
                      <a:pt x="449916" y="299071"/>
                      <a:pt x="450982" y="301386"/>
                      <a:pt x="450982" y="305139"/>
                    </a:cubicBezTo>
                    <a:lnTo>
                      <a:pt x="450982" y="551610"/>
                    </a:lnTo>
                    <a:lnTo>
                      <a:pt x="394318" y="551610"/>
                    </a:lnTo>
                    <a:lnTo>
                      <a:pt x="394318" y="361815"/>
                    </a:lnTo>
                    <a:cubicBezTo>
                      <a:pt x="394318" y="354308"/>
                      <a:pt x="398580" y="343924"/>
                      <a:pt x="403846" y="338669"/>
                    </a:cubicBezTo>
                    <a:lnTo>
                      <a:pt x="441329" y="301136"/>
                    </a:lnTo>
                    <a:cubicBezTo>
                      <a:pt x="444024" y="298508"/>
                      <a:pt x="446438" y="297633"/>
                      <a:pt x="448177" y="298352"/>
                    </a:cubicBezTo>
                    <a:close/>
                    <a:moveTo>
                      <a:pt x="527085" y="219452"/>
                    </a:moveTo>
                    <a:cubicBezTo>
                      <a:pt x="528809" y="220171"/>
                      <a:pt x="529874" y="222486"/>
                      <a:pt x="529874" y="226177"/>
                    </a:cubicBezTo>
                    <a:lnTo>
                      <a:pt x="529874" y="551610"/>
                    </a:lnTo>
                    <a:lnTo>
                      <a:pt x="477232" y="551610"/>
                    </a:lnTo>
                    <a:lnTo>
                      <a:pt x="477232" y="278727"/>
                    </a:lnTo>
                    <a:cubicBezTo>
                      <a:pt x="477232" y="271345"/>
                      <a:pt x="481494" y="260960"/>
                      <a:pt x="486883" y="255580"/>
                    </a:cubicBezTo>
                    <a:lnTo>
                      <a:pt x="520348" y="222298"/>
                    </a:lnTo>
                    <a:cubicBezTo>
                      <a:pt x="522980" y="219608"/>
                      <a:pt x="525362" y="218732"/>
                      <a:pt x="527085" y="219452"/>
                    </a:cubicBezTo>
                    <a:close/>
                    <a:moveTo>
                      <a:pt x="387769" y="0"/>
                    </a:moveTo>
                    <a:lnTo>
                      <a:pt x="580729" y="0"/>
                    </a:lnTo>
                    <a:cubicBezTo>
                      <a:pt x="594512" y="0"/>
                      <a:pt x="607919" y="12135"/>
                      <a:pt x="607919" y="26022"/>
                    </a:cubicBezTo>
                    <a:lnTo>
                      <a:pt x="607919" y="219812"/>
                    </a:lnTo>
                    <a:cubicBezTo>
                      <a:pt x="607919" y="227318"/>
                      <a:pt x="603534" y="229070"/>
                      <a:pt x="598271" y="223815"/>
                    </a:cubicBezTo>
                    <a:lnTo>
                      <a:pt x="530610" y="156258"/>
                    </a:lnTo>
                    <a:lnTo>
                      <a:pt x="304320" y="382325"/>
                    </a:lnTo>
                    <a:cubicBezTo>
                      <a:pt x="298932" y="387580"/>
                      <a:pt x="290412" y="387580"/>
                      <a:pt x="285024" y="382325"/>
                    </a:cubicBezTo>
                    <a:lnTo>
                      <a:pt x="216360" y="313767"/>
                    </a:lnTo>
                    <a:lnTo>
                      <a:pt x="94068" y="435996"/>
                    </a:lnTo>
                    <a:cubicBezTo>
                      <a:pt x="72767" y="457264"/>
                      <a:pt x="38435" y="457264"/>
                      <a:pt x="17260" y="435996"/>
                    </a:cubicBezTo>
                    <a:lnTo>
                      <a:pt x="15882" y="434745"/>
                    </a:lnTo>
                    <a:cubicBezTo>
                      <a:pt x="-5294" y="413477"/>
                      <a:pt x="-5294" y="379198"/>
                      <a:pt x="15882" y="358055"/>
                    </a:cubicBezTo>
                    <a:lnTo>
                      <a:pt x="206837" y="167267"/>
                    </a:lnTo>
                    <a:cubicBezTo>
                      <a:pt x="212100" y="161888"/>
                      <a:pt x="220745" y="161888"/>
                      <a:pt x="226008" y="167267"/>
                    </a:cubicBezTo>
                    <a:lnTo>
                      <a:pt x="294672" y="235701"/>
                    </a:lnTo>
                    <a:lnTo>
                      <a:pt x="424481" y="105965"/>
                    </a:lnTo>
                    <a:lnTo>
                      <a:pt x="452423" y="78192"/>
                    </a:lnTo>
                    <a:lnTo>
                      <a:pt x="383885" y="9633"/>
                    </a:lnTo>
                    <a:cubicBezTo>
                      <a:pt x="378497" y="4379"/>
                      <a:pt x="380376" y="0"/>
                      <a:pt x="38776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67" name="iṡļiḓe"/>
          <p:cNvGrpSpPr/>
          <p:nvPr/>
        </p:nvGrpSpPr>
        <p:grpSpPr>
          <a:xfrm>
            <a:off x="2073095" y="3226114"/>
            <a:ext cx="9848025" cy="1065725"/>
            <a:chOff x="660400" y="1787149"/>
            <a:chExt cx="9848025" cy="1065725"/>
          </a:xfrm>
        </p:grpSpPr>
        <p:grpSp>
          <p:nvGrpSpPr>
            <p:cNvPr id="68" name="iSḻíḓè"/>
            <p:cNvGrpSpPr/>
            <p:nvPr/>
          </p:nvGrpSpPr>
          <p:grpSpPr>
            <a:xfrm>
              <a:off x="1296567" y="1835355"/>
              <a:ext cx="9211858" cy="1017519"/>
              <a:chOff x="1296567" y="1835355"/>
              <a:chExt cx="11618458" cy="1017519"/>
            </a:xfrm>
          </p:grpSpPr>
          <p:sp>
            <p:nvSpPr>
              <p:cNvPr id="72" name="îṧľîḋé"/>
              <p:cNvSpPr txBox="1"/>
              <p:nvPr/>
            </p:nvSpPr>
            <p:spPr>
              <a:xfrm>
                <a:off x="1296567" y="1835355"/>
                <a:ext cx="2989871" cy="389423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r>
                  <a:rPr lang="zh-CN" altLang="en-US" sz="2400" dirty="0"/>
                  <a:t>优点：</a:t>
                </a:r>
              </a:p>
            </p:txBody>
          </p:sp>
          <p:sp>
            <p:nvSpPr>
              <p:cNvPr id="73" name="íşļîḓé"/>
              <p:cNvSpPr/>
              <p:nvPr/>
            </p:nvSpPr>
            <p:spPr bwMode="auto">
              <a:xfrm>
                <a:off x="1296568" y="2234688"/>
                <a:ext cx="2989869" cy="6181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342900" lvl="1" indent="-342900">
                  <a:lnSpc>
                    <a:spcPct val="132000"/>
                  </a:lnSpc>
                  <a:buClr>
                    <a:schemeClr val="accent4">
                      <a:lumMod val="40000"/>
                      <a:lumOff val="60000"/>
                    </a:schemeClr>
                  </a:buClr>
                  <a:buFont typeface="Wingdings" panose="05000000000000000000" pitchFamily="2" charset="2"/>
                  <a:buChar char="Ø"/>
                </a:pPr>
                <a:r>
                  <a:rPr lang="zh-CN" altLang="en-US" sz="2200" dirty="0"/>
                  <a:t>支持随机访问</a:t>
                </a:r>
              </a:p>
            </p:txBody>
          </p:sp>
          <p:sp>
            <p:nvSpPr>
              <p:cNvPr id="81" name="íşļîḓé"/>
              <p:cNvSpPr/>
              <p:nvPr/>
            </p:nvSpPr>
            <p:spPr bwMode="auto">
              <a:xfrm>
                <a:off x="4461036" y="2224778"/>
                <a:ext cx="8453989" cy="5785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342900" lvl="1" indent="-342900">
                  <a:lnSpc>
                    <a:spcPct val="132000"/>
                  </a:lnSpc>
                  <a:buClr>
                    <a:schemeClr val="accent4">
                      <a:lumMod val="40000"/>
                      <a:lumOff val="60000"/>
                    </a:schemeClr>
                  </a:buClr>
                  <a:buFont typeface="Wingdings" panose="05000000000000000000" pitchFamily="2" charset="2"/>
                  <a:buChar char="Ø"/>
                </a:pPr>
                <a:r>
                  <a:rPr lang="zh-CN" altLang="en-US" sz="2200" dirty="0"/>
                  <a:t>动态存取没有外碎片，但索引块的负担较重</a:t>
                </a:r>
              </a:p>
            </p:txBody>
          </p:sp>
        </p:grpSp>
        <p:grpSp>
          <p:nvGrpSpPr>
            <p:cNvPr id="69" name="ïS1íḋé"/>
            <p:cNvGrpSpPr/>
            <p:nvPr/>
          </p:nvGrpSpPr>
          <p:grpSpPr>
            <a:xfrm>
              <a:off x="660400" y="1787149"/>
              <a:ext cx="497734" cy="497734"/>
              <a:chOff x="660400" y="1787149"/>
              <a:chExt cx="497734" cy="497734"/>
            </a:xfrm>
          </p:grpSpPr>
          <p:sp>
            <p:nvSpPr>
              <p:cNvPr id="70" name="islîḋe"/>
              <p:cNvSpPr/>
              <p:nvPr/>
            </p:nvSpPr>
            <p:spPr>
              <a:xfrm>
                <a:off x="660400" y="1787149"/>
                <a:ext cx="497734" cy="497734"/>
              </a:xfrm>
              <a:prstGeom prst="ellipse">
                <a:avLst/>
              </a:prstGeom>
              <a:solidFill>
                <a:schemeClr val="accent1"/>
              </a:solidFill>
              <a:ln w="19050">
                <a:solidFill>
                  <a:schemeClr val="bg1"/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1" name="îŝlîďe"/>
              <p:cNvSpPr/>
              <p:nvPr/>
            </p:nvSpPr>
            <p:spPr>
              <a:xfrm>
                <a:off x="779848" y="1918584"/>
                <a:ext cx="258838" cy="234864"/>
              </a:xfrm>
              <a:custGeom>
                <a:avLst/>
                <a:gdLst>
                  <a:gd name="connsiteX0" fmla="*/ 116112 w 607919"/>
                  <a:gd name="connsiteY0" fmla="*/ 473652 h 551610"/>
                  <a:gd name="connsiteX1" fmla="*/ 118901 w 607919"/>
                  <a:gd name="connsiteY1" fmla="*/ 480423 h 551610"/>
                  <a:gd name="connsiteX2" fmla="*/ 118901 w 607919"/>
                  <a:gd name="connsiteY2" fmla="*/ 551610 h 551610"/>
                  <a:gd name="connsiteX3" fmla="*/ 55604 w 607919"/>
                  <a:gd name="connsiteY3" fmla="*/ 551610 h 551610"/>
                  <a:gd name="connsiteX4" fmla="*/ 55604 w 607919"/>
                  <a:gd name="connsiteY4" fmla="*/ 540851 h 551610"/>
                  <a:gd name="connsiteX5" fmla="*/ 65255 w 607919"/>
                  <a:gd name="connsiteY5" fmla="*/ 520583 h 551610"/>
                  <a:gd name="connsiteX6" fmla="*/ 83555 w 607919"/>
                  <a:gd name="connsiteY6" fmla="*/ 502317 h 551610"/>
                  <a:gd name="connsiteX7" fmla="*/ 109375 w 607919"/>
                  <a:gd name="connsiteY7" fmla="*/ 476545 h 551610"/>
                  <a:gd name="connsiteX8" fmla="*/ 116112 w 607919"/>
                  <a:gd name="connsiteY8" fmla="*/ 473652 h 551610"/>
                  <a:gd name="connsiteX9" fmla="*/ 199155 w 607919"/>
                  <a:gd name="connsiteY9" fmla="*/ 390799 h 551610"/>
                  <a:gd name="connsiteX10" fmla="*/ 201956 w 607919"/>
                  <a:gd name="connsiteY10" fmla="*/ 397632 h 551610"/>
                  <a:gd name="connsiteX11" fmla="*/ 201956 w 607919"/>
                  <a:gd name="connsiteY11" fmla="*/ 551610 h 551610"/>
                  <a:gd name="connsiteX12" fmla="*/ 145363 w 607919"/>
                  <a:gd name="connsiteY12" fmla="*/ 551610 h 551610"/>
                  <a:gd name="connsiteX13" fmla="*/ 145363 w 607919"/>
                  <a:gd name="connsiteY13" fmla="*/ 454170 h 551610"/>
                  <a:gd name="connsiteX14" fmla="*/ 154879 w 607919"/>
                  <a:gd name="connsiteY14" fmla="*/ 431030 h 551610"/>
                  <a:gd name="connsiteX15" fmla="*/ 192315 w 607919"/>
                  <a:gd name="connsiteY15" fmla="*/ 393630 h 551610"/>
                  <a:gd name="connsiteX16" fmla="*/ 199155 w 607919"/>
                  <a:gd name="connsiteY16" fmla="*/ 390799 h 551610"/>
                  <a:gd name="connsiteX17" fmla="*/ 231082 w 607919"/>
                  <a:gd name="connsiteY17" fmla="*/ 388245 h 551610"/>
                  <a:gd name="connsiteX18" fmla="*/ 237930 w 607919"/>
                  <a:gd name="connsiteY18" fmla="*/ 391091 h 551610"/>
                  <a:gd name="connsiteX19" fmla="*/ 266763 w 607919"/>
                  <a:gd name="connsiteY19" fmla="*/ 419867 h 551610"/>
                  <a:gd name="connsiteX20" fmla="*/ 275915 w 607919"/>
                  <a:gd name="connsiteY20" fmla="*/ 428875 h 551610"/>
                  <a:gd name="connsiteX21" fmla="*/ 284941 w 607919"/>
                  <a:gd name="connsiteY21" fmla="*/ 451520 h 551610"/>
                  <a:gd name="connsiteX22" fmla="*/ 284941 w 607919"/>
                  <a:gd name="connsiteY22" fmla="*/ 551610 h 551610"/>
                  <a:gd name="connsiteX23" fmla="*/ 228277 w 607919"/>
                  <a:gd name="connsiteY23" fmla="*/ 551610 h 551610"/>
                  <a:gd name="connsiteX24" fmla="*/ 228277 w 607919"/>
                  <a:gd name="connsiteY24" fmla="*/ 394969 h 551610"/>
                  <a:gd name="connsiteX25" fmla="*/ 231082 w 607919"/>
                  <a:gd name="connsiteY25" fmla="*/ 388245 h 551610"/>
                  <a:gd name="connsiteX26" fmla="*/ 365148 w 607919"/>
                  <a:gd name="connsiteY26" fmla="*/ 381336 h 551610"/>
                  <a:gd name="connsiteX27" fmla="*/ 367997 w 607919"/>
                  <a:gd name="connsiteY27" fmla="*/ 388122 h 551610"/>
                  <a:gd name="connsiteX28" fmla="*/ 367997 w 607919"/>
                  <a:gd name="connsiteY28" fmla="*/ 551610 h 551610"/>
                  <a:gd name="connsiteX29" fmla="*/ 311262 w 607919"/>
                  <a:gd name="connsiteY29" fmla="*/ 551610 h 551610"/>
                  <a:gd name="connsiteX30" fmla="*/ 311262 w 607919"/>
                  <a:gd name="connsiteY30" fmla="*/ 444661 h 551610"/>
                  <a:gd name="connsiteX31" fmla="*/ 316898 w 607919"/>
                  <a:gd name="connsiteY31" fmla="*/ 425523 h 551610"/>
                  <a:gd name="connsiteX32" fmla="*/ 322534 w 607919"/>
                  <a:gd name="connsiteY32" fmla="*/ 419894 h 551610"/>
                  <a:gd name="connsiteX33" fmla="*/ 358353 w 607919"/>
                  <a:gd name="connsiteY33" fmla="*/ 384120 h 551610"/>
                  <a:gd name="connsiteX34" fmla="*/ 365148 w 607919"/>
                  <a:gd name="connsiteY34" fmla="*/ 381336 h 551610"/>
                  <a:gd name="connsiteX35" fmla="*/ 448177 w 607919"/>
                  <a:gd name="connsiteY35" fmla="*/ 298352 h 551610"/>
                  <a:gd name="connsiteX36" fmla="*/ 450982 w 607919"/>
                  <a:gd name="connsiteY36" fmla="*/ 305139 h 551610"/>
                  <a:gd name="connsiteX37" fmla="*/ 450982 w 607919"/>
                  <a:gd name="connsiteY37" fmla="*/ 551610 h 551610"/>
                  <a:gd name="connsiteX38" fmla="*/ 394318 w 607919"/>
                  <a:gd name="connsiteY38" fmla="*/ 551610 h 551610"/>
                  <a:gd name="connsiteX39" fmla="*/ 394318 w 607919"/>
                  <a:gd name="connsiteY39" fmla="*/ 361815 h 551610"/>
                  <a:gd name="connsiteX40" fmla="*/ 403846 w 607919"/>
                  <a:gd name="connsiteY40" fmla="*/ 338669 h 551610"/>
                  <a:gd name="connsiteX41" fmla="*/ 441329 w 607919"/>
                  <a:gd name="connsiteY41" fmla="*/ 301136 h 551610"/>
                  <a:gd name="connsiteX42" fmla="*/ 448177 w 607919"/>
                  <a:gd name="connsiteY42" fmla="*/ 298352 h 551610"/>
                  <a:gd name="connsiteX43" fmla="*/ 527085 w 607919"/>
                  <a:gd name="connsiteY43" fmla="*/ 219452 h 551610"/>
                  <a:gd name="connsiteX44" fmla="*/ 529874 w 607919"/>
                  <a:gd name="connsiteY44" fmla="*/ 226177 h 551610"/>
                  <a:gd name="connsiteX45" fmla="*/ 529874 w 607919"/>
                  <a:gd name="connsiteY45" fmla="*/ 551610 h 551610"/>
                  <a:gd name="connsiteX46" fmla="*/ 477232 w 607919"/>
                  <a:gd name="connsiteY46" fmla="*/ 551610 h 551610"/>
                  <a:gd name="connsiteX47" fmla="*/ 477232 w 607919"/>
                  <a:gd name="connsiteY47" fmla="*/ 278727 h 551610"/>
                  <a:gd name="connsiteX48" fmla="*/ 486883 w 607919"/>
                  <a:gd name="connsiteY48" fmla="*/ 255580 h 551610"/>
                  <a:gd name="connsiteX49" fmla="*/ 520348 w 607919"/>
                  <a:gd name="connsiteY49" fmla="*/ 222298 h 551610"/>
                  <a:gd name="connsiteX50" fmla="*/ 527085 w 607919"/>
                  <a:gd name="connsiteY50" fmla="*/ 219452 h 551610"/>
                  <a:gd name="connsiteX51" fmla="*/ 387769 w 607919"/>
                  <a:gd name="connsiteY51" fmla="*/ 0 h 551610"/>
                  <a:gd name="connsiteX52" fmla="*/ 580729 w 607919"/>
                  <a:gd name="connsiteY52" fmla="*/ 0 h 551610"/>
                  <a:gd name="connsiteX53" fmla="*/ 607919 w 607919"/>
                  <a:gd name="connsiteY53" fmla="*/ 26022 h 551610"/>
                  <a:gd name="connsiteX54" fmla="*/ 607919 w 607919"/>
                  <a:gd name="connsiteY54" fmla="*/ 219812 h 551610"/>
                  <a:gd name="connsiteX55" fmla="*/ 598271 w 607919"/>
                  <a:gd name="connsiteY55" fmla="*/ 223815 h 551610"/>
                  <a:gd name="connsiteX56" fmla="*/ 530610 w 607919"/>
                  <a:gd name="connsiteY56" fmla="*/ 156258 h 551610"/>
                  <a:gd name="connsiteX57" fmla="*/ 304320 w 607919"/>
                  <a:gd name="connsiteY57" fmla="*/ 382325 h 551610"/>
                  <a:gd name="connsiteX58" fmla="*/ 285024 w 607919"/>
                  <a:gd name="connsiteY58" fmla="*/ 382325 h 551610"/>
                  <a:gd name="connsiteX59" fmla="*/ 216360 w 607919"/>
                  <a:gd name="connsiteY59" fmla="*/ 313767 h 551610"/>
                  <a:gd name="connsiteX60" fmla="*/ 94068 w 607919"/>
                  <a:gd name="connsiteY60" fmla="*/ 435996 h 551610"/>
                  <a:gd name="connsiteX61" fmla="*/ 17260 w 607919"/>
                  <a:gd name="connsiteY61" fmla="*/ 435996 h 551610"/>
                  <a:gd name="connsiteX62" fmla="*/ 15882 w 607919"/>
                  <a:gd name="connsiteY62" fmla="*/ 434745 h 551610"/>
                  <a:gd name="connsiteX63" fmla="*/ 15882 w 607919"/>
                  <a:gd name="connsiteY63" fmla="*/ 358055 h 551610"/>
                  <a:gd name="connsiteX64" fmla="*/ 206837 w 607919"/>
                  <a:gd name="connsiteY64" fmla="*/ 167267 h 551610"/>
                  <a:gd name="connsiteX65" fmla="*/ 226008 w 607919"/>
                  <a:gd name="connsiteY65" fmla="*/ 167267 h 551610"/>
                  <a:gd name="connsiteX66" fmla="*/ 294672 w 607919"/>
                  <a:gd name="connsiteY66" fmla="*/ 235701 h 551610"/>
                  <a:gd name="connsiteX67" fmla="*/ 424481 w 607919"/>
                  <a:gd name="connsiteY67" fmla="*/ 105965 h 551610"/>
                  <a:gd name="connsiteX68" fmla="*/ 452423 w 607919"/>
                  <a:gd name="connsiteY68" fmla="*/ 78192 h 551610"/>
                  <a:gd name="connsiteX69" fmla="*/ 383885 w 607919"/>
                  <a:gd name="connsiteY69" fmla="*/ 9633 h 551610"/>
                  <a:gd name="connsiteX70" fmla="*/ 387769 w 607919"/>
                  <a:gd name="connsiteY70" fmla="*/ 0 h 551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607919" h="551610">
                    <a:moveTo>
                      <a:pt x="116112" y="473652"/>
                    </a:moveTo>
                    <a:cubicBezTo>
                      <a:pt x="117836" y="474356"/>
                      <a:pt x="118901" y="476670"/>
                      <a:pt x="118901" y="480423"/>
                    </a:cubicBezTo>
                    <a:lnTo>
                      <a:pt x="118901" y="551610"/>
                    </a:lnTo>
                    <a:lnTo>
                      <a:pt x="55604" y="551610"/>
                    </a:lnTo>
                    <a:lnTo>
                      <a:pt x="55604" y="540851"/>
                    </a:lnTo>
                    <a:cubicBezTo>
                      <a:pt x="55604" y="534971"/>
                      <a:pt x="59991" y="525838"/>
                      <a:pt x="65255" y="520583"/>
                    </a:cubicBezTo>
                    <a:lnTo>
                      <a:pt x="83555" y="502317"/>
                    </a:lnTo>
                    <a:lnTo>
                      <a:pt x="109375" y="476545"/>
                    </a:lnTo>
                    <a:cubicBezTo>
                      <a:pt x="112007" y="473855"/>
                      <a:pt x="114389" y="472948"/>
                      <a:pt x="116112" y="473652"/>
                    </a:cubicBezTo>
                    <a:close/>
                    <a:moveTo>
                      <a:pt x="199155" y="390799"/>
                    </a:moveTo>
                    <a:cubicBezTo>
                      <a:pt x="200892" y="391534"/>
                      <a:pt x="201956" y="393880"/>
                      <a:pt x="201956" y="397632"/>
                    </a:cubicBezTo>
                    <a:lnTo>
                      <a:pt x="201956" y="551610"/>
                    </a:lnTo>
                    <a:lnTo>
                      <a:pt x="145363" y="551610"/>
                    </a:lnTo>
                    <a:lnTo>
                      <a:pt x="145363" y="454170"/>
                    </a:lnTo>
                    <a:cubicBezTo>
                      <a:pt x="145363" y="446665"/>
                      <a:pt x="149620" y="436283"/>
                      <a:pt x="154879" y="431030"/>
                    </a:cubicBezTo>
                    <a:lnTo>
                      <a:pt x="192315" y="393630"/>
                    </a:lnTo>
                    <a:cubicBezTo>
                      <a:pt x="195007" y="390941"/>
                      <a:pt x="197417" y="390065"/>
                      <a:pt x="199155" y="390799"/>
                    </a:cubicBezTo>
                    <a:close/>
                    <a:moveTo>
                      <a:pt x="231082" y="388245"/>
                    </a:moveTo>
                    <a:cubicBezTo>
                      <a:pt x="232822" y="387525"/>
                      <a:pt x="235235" y="388401"/>
                      <a:pt x="237930" y="391091"/>
                    </a:cubicBezTo>
                    <a:lnTo>
                      <a:pt x="266763" y="419867"/>
                    </a:lnTo>
                    <a:lnTo>
                      <a:pt x="275915" y="428875"/>
                    </a:lnTo>
                    <a:cubicBezTo>
                      <a:pt x="280929" y="433879"/>
                      <a:pt x="284941" y="444013"/>
                      <a:pt x="284941" y="451520"/>
                    </a:cubicBezTo>
                    <a:lnTo>
                      <a:pt x="284941" y="551610"/>
                    </a:lnTo>
                    <a:lnTo>
                      <a:pt x="228277" y="551610"/>
                    </a:lnTo>
                    <a:lnTo>
                      <a:pt x="228277" y="394969"/>
                    </a:lnTo>
                    <a:cubicBezTo>
                      <a:pt x="228277" y="391278"/>
                      <a:pt x="229343" y="388964"/>
                      <a:pt x="231082" y="388245"/>
                    </a:cubicBezTo>
                    <a:close/>
                    <a:moveTo>
                      <a:pt x="365148" y="381336"/>
                    </a:moveTo>
                    <a:cubicBezTo>
                      <a:pt x="366901" y="382055"/>
                      <a:pt x="367997" y="384370"/>
                      <a:pt x="367997" y="388122"/>
                    </a:cubicBezTo>
                    <a:lnTo>
                      <a:pt x="367997" y="551610"/>
                    </a:lnTo>
                    <a:lnTo>
                      <a:pt x="311262" y="551610"/>
                    </a:lnTo>
                    <a:lnTo>
                      <a:pt x="311262" y="444661"/>
                    </a:lnTo>
                    <a:cubicBezTo>
                      <a:pt x="311262" y="437156"/>
                      <a:pt x="313767" y="428650"/>
                      <a:pt x="316898" y="425523"/>
                    </a:cubicBezTo>
                    <a:cubicBezTo>
                      <a:pt x="320029" y="422396"/>
                      <a:pt x="322534" y="419894"/>
                      <a:pt x="322534" y="419894"/>
                    </a:cubicBezTo>
                    <a:lnTo>
                      <a:pt x="358353" y="384120"/>
                    </a:lnTo>
                    <a:cubicBezTo>
                      <a:pt x="360983" y="381493"/>
                      <a:pt x="363394" y="380617"/>
                      <a:pt x="365148" y="381336"/>
                    </a:cubicBezTo>
                    <a:close/>
                    <a:moveTo>
                      <a:pt x="448177" y="298352"/>
                    </a:moveTo>
                    <a:cubicBezTo>
                      <a:pt x="449916" y="299071"/>
                      <a:pt x="450982" y="301386"/>
                      <a:pt x="450982" y="305139"/>
                    </a:cubicBezTo>
                    <a:lnTo>
                      <a:pt x="450982" y="551610"/>
                    </a:lnTo>
                    <a:lnTo>
                      <a:pt x="394318" y="551610"/>
                    </a:lnTo>
                    <a:lnTo>
                      <a:pt x="394318" y="361815"/>
                    </a:lnTo>
                    <a:cubicBezTo>
                      <a:pt x="394318" y="354308"/>
                      <a:pt x="398580" y="343924"/>
                      <a:pt x="403846" y="338669"/>
                    </a:cubicBezTo>
                    <a:lnTo>
                      <a:pt x="441329" y="301136"/>
                    </a:lnTo>
                    <a:cubicBezTo>
                      <a:pt x="444024" y="298508"/>
                      <a:pt x="446438" y="297633"/>
                      <a:pt x="448177" y="298352"/>
                    </a:cubicBezTo>
                    <a:close/>
                    <a:moveTo>
                      <a:pt x="527085" y="219452"/>
                    </a:moveTo>
                    <a:cubicBezTo>
                      <a:pt x="528809" y="220171"/>
                      <a:pt x="529874" y="222486"/>
                      <a:pt x="529874" y="226177"/>
                    </a:cubicBezTo>
                    <a:lnTo>
                      <a:pt x="529874" y="551610"/>
                    </a:lnTo>
                    <a:lnTo>
                      <a:pt x="477232" y="551610"/>
                    </a:lnTo>
                    <a:lnTo>
                      <a:pt x="477232" y="278727"/>
                    </a:lnTo>
                    <a:cubicBezTo>
                      <a:pt x="477232" y="271345"/>
                      <a:pt x="481494" y="260960"/>
                      <a:pt x="486883" y="255580"/>
                    </a:cubicBezTo>
                    <a:lnTo>
                      <a:pt x="520348" y="222298"/>
                    </a:lnTo>
                    <a:cubicBezTo>
                      <a:pt x="522980" y="219608"/>
                      <a:pt x="525362" y="218732"/>
                      <a:pt x="527085" y="219452"/>
                    </a:cubicBezTo>
                    <a:close/>
                    <a:moveTo>
                      <a:pt x="387769" y="0"/>
                    </a:moveTo>
                    <a:lnTo>
                      <a:pt x="580729" y="0"/>
                    </a:lnTo>
                    <a:cubicBezTo>
                      <a:pt x="594512" y="0"/>
                      <a:pt x="607919" y="12135"/>
                      <a:pt x="607919" y="26022"/>
                    </a:cubicBezTo>
                    <a:lnTo>
                      <a:pt x="607919" y="219812"/>
                    </a:lnTo>
                    <a:cubicBezTo>
                      <a:pt x="607919" y="227318"/>
                      <a:pt x="603534" y="229070"/>
                      <a:pt x="598271" y="223815"/>
                    </a:cubicBezTo>
                    <a:lnTo>
                      <a:pt x="530610" y="156258"/>
                    </a:lnTo>
                    <a:lnTo>
                      <a:pt x="304320" y="382325"/>
                    </a:lnTo>
                    <a:cubicBezTo>
                      <a:pt x="298932" y="387580"/>
                      <a:pt x="290412" y="387580"/>
                      <a:pt x="285024" y="382325"/>
                    </a:cubicBezTo>
                    <a:lnTo>
                      <a:pt x="216360" y="313767"/>
                    </a:lnTo>
                    <a:lnTo>
                      <a:pt x="94068" y="435996"/>
                    </a:lnTo>
                    <a:cubicBezTo>
                      <a:pt x="72767" y="457264"/>
                      <a:pt x="38435" y="457264"/>
                      <a:pt x="17260" y="435996"/>
                    </a:cubicBezTo>
                    <a:lnTo>
                      <a:pt x="15882" y="434745"/>
                    </a:lnTo>
                    <a:cubicBezTo>
                      <a:pt x="-5294" y="413477"/>
                      <a:pt x="-5294" y="379198"/>
                      <a:pt x="15882" y="358055"/>
                    </a:cubicBezTo>
                    <a:lnTo>
                      <a:pt x="206837" y="167267"/>
                    </a:lnTo>
                    <a:cubicBezTo>
                      <a:pt x="212100" y="161888"/>
                      <a:pt x="220745" y="161888"/>
                      <a:pt x="226008" y="167267"/>
                    </a:cubicBezTo>
                    <a:lnTo>
                      <a:pt x="294672" y="235701"/>
                    </a:lnTo>
                    <a:lnTo>
                      <a:pt x="424481" y="105965"/>
                    </a:lnTo>
                    <a:lnTo>
                      <a:pt x="452423" y="78192"/>
                    </a:lnTo>
                    <a:lnTo>
                      <a:pt x="383885" y="9633"/>
                    </a:lnTo>
                    <a:cubicBezTo>
                      <a:pt x="378497" y="4379"/>
                      <a:pt x="380376" y="0"/>
                      <a:pt x="38776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74" name="iṡļiḓe"/>
          <p:cNvGrpSpPr/>
          <p:nvPr/>
        </p:nvGrpSpPr>
        <p:grpSpPr>
          <a:xfrm>
            <a:off x="3001460" y="4400834"/>
            <a:ext cx="5568228" cy="1395185"/>
            <a:chOff x="660400" y="1787149"/>
            <a:chExt cx="5568228" cy="1395185"/>
          </a:xfrm>
        </p:grpSpPr>
        <p:grpSp>
          <p:nvGrpSpPr>
            <p:cNvPr id="75" name="iSḻíḓè"/>
            <p:cNvGrpSpPr/>
            <p:nvPr/>
          </p:nvGrpSpPr>
          <p:grpSpPr>
            <a:xfrm>
              <a:off x="1296567" y="1835355"/>
              <a:ext cx="4932061" cy="1346979"/>
              <a:chOff x="1296567" y="1835355"/>
              <a:chExt cx="6220564" cy="1346979"/>
            </a:xfrm>
          </p:grpSpPr>
          <p:sp>
            <p:nvSpPr>
              <p:cNvPr id="79" name="îṧľîḋé"/>
              <p:cNvSpPr txBox="1"/>
              <p:nvPr/>
            </p:nvSpPr>
            <p:spPr>
              <a:xfrm>
                <a:off x="1296567" y="1835355"/>
                <a:ext cx="2989871" cy="389423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r>
                  <a:rPr lang="zh-CN" altLang="en-US" sz="2400" dirty="0"/>
                  <a:t>缺点：</a:t>
                </a:r>
              </a:p>
            </p:txBody>
          </p:sp>
          <p:sp>
            <p:nvSpPr>
              <p:cNvPr id="80" name="íşļîḓé"/>
              <p:cNvSpPr/>
              <p:nvPr/>
            </p:nvSpPr>
            <p:spPr bwMode="auto">
              <a:xfrm>
                <a:off x="1296567" y="2234688"/>
                <a:ext cx="6220564" cy="9476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342900" lvl="1" indent="-342900">
                  <a:lnSpc>
                    <a:spcPct val="132000"/>
                  </a:lnSpc>
                  <a:buClr>
                    <a:schemeClr val="accent4">
                      <a:lumMod val="40000"/>
                      <a:lumOff val="60000"/>
                    </a:schemeClr>
                  </a:buClr>
                  <a:buFont typeface="Wingdings" panose="05000000000000000000" pitchFamily="2" charset="2"/>
                  <a:buChar char="Ø"/>
                </a:pPr>
                <a:r>
                  <a:rPr lang="zh-CN" altLang="en-US" sz="2200" dirty="0"/>
                  <a:t>需要索引表</a:t>
                </a:r>
              </a:p>
              <a:p>
                <a:pPr marL="342900" lvl="1" indent="-342900">
                  <a:lnSpc>
                    <a:spcPct val="132000"/>
                  </a:lnSpc>
                  <a:buClr>
                    <a:schemeClr val="accent4">
                      <a:lumMod val="40000"/>
                      <a:lumOff val="60000"/>
                    </a:schemeClr>
                  </a:buClr>
                  <a:buFont typeface="Wingdings" panose="05000000000000000000" pitchFamily="2" charset="2"/>
                  <a:buChar char="Ø"/>
                </a:pPr>
                <a:r>
                  <a:rPr lang="zh-CN" altLang="en-US" sz="2200" dirty="0">
                    <a:solidFill>
                      <a:srgbClr val="FF0000"/>
                    </a:solidFill>
                  </a:rPr>
                  <a:t>对小文件，其索引块的利用率低</a:t>
                </a:r>
              </a:p>
            </p:txBody>
          </p:sp>
        </p:grpSp>
        <p:grpSp>
          <p:nvGrpSpPr>
            <p:cNvPr id="76" name="ïS1íḋé"/>
            <p:cNvGrpSpPr/>
            <p:nvPr/>
          </p:nvGrpSpPr>
          <p:grpSpPr>
            <a:xfrm>
              <a:off x="660400" y="1787149"/>
              <a:ext cx="497734" cy="497734"/>
              <a:chOff x="660400" y="1787149"/>
              <a:chExt cx="497734" cy="497734"/>
            </a:xfrm>
          </p:grpSpPr>
          <p:sp>
            <p:nvSpPr>
              <p:cNvPr id="77" name="islîḋe"/>
              <p:cNvSpPr/>
              <p:nvPr/>
            </p:nvSpPr>
            <p:spPr>
              <a:xfrm>
                <a:off x="660400" y="1787149"/>
                <a:ext cx="497734" cy="497734"/>
              </a:xfrm>
              <a:prstGeom prst="ellipse">
                <a:avLst/>
              </a:prstGeom>
              <a:solidFill>
                <a:schemeClr val="accent1"/>
              </a:solidFill>
              <a:ln w="19050">
                <a:solidFill>
                  <a:schemeClr val="bg1"/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8" name="îŝlîďe"/>
              <p:cNvSpPr/>
              <p:nvPr/>
            </p:nvSpPr>
            <p:spPr>
              <a:xfrm>
                <a:off x="779848" y="1918584"/>
                <a:ext cx="258838" cy="234864"/>
              </a:xfrm>
              <a:custGeom>
                <a:avLst/>
                <a:gdLst>
                  <a:gd name="connsiteX0" fmla="*/ 116112 w 607919"/>
                  <a:gd name="connsiteY0" fmla="*/ 473652 h 551610"/>
                  <a:gd name="connsiteX1" fmla="*/ 118901 w 607919"/>
                  <a:gd name="connsiteY1" fmla="*/ 480423 h 551610"/>
                  <a:gd name="connsiteX2" fmla="*/ 118901 w 607919"/>
                  <a:gd name="connsiteY2" fmla="*/ 551610 h 551610"/>
                  <a:gd name="connsiteX3" fmla="*/ 55604 w 607919"/>
                  <a:gd name="connsiteY3" fmla="*/ 551610 h 551610"/>
                  <a:gd name="connsiteX4" fmla="*/ 55604 w 607919"/>
                  <a:gd name="connsiteY4" fmla="*/ 540851 h 551610"/>
                  <a:gd name="connsiteX5" fmla="*/ 65255 w 607919"/>
                  <a:gd name="connsiteY5" fmla="*/ 520583 h 551610"/>
                  <a:gd name="connsiteX6" fmla="*/ 83555 w 607919"/>
                  <a:gd name="connsiteY6" fmla="*/ 502317 h 551610"/>
                  <a:gd name="connsiteX7" fmla="*/ 109375 w 607919"/>
                  <a:gd name="connsiteY7" fmla="*/ 476545 h 551610"/>
                  <a:gd name="connsiteX8" fmla="*/ 116112 w 607919"/>
                  <a:gd name="connsiteY8" fmla="*/ 473652 h 551610"/>
                  <a:gd name="connsiteX9" fmla="*/ 199155 w 607919"/>
                  <a:gd name="connsiteY9" fmla="*/ 390799 h 551610"/>
                  <a:gd name="connsiteX10" fmla="*/ 201956 w 607919"/>
                  <a:gd name="connsiteY10" fmla="*/ 397632 h 551610"/>
                  <a:gd name="connsiteX11" fmla="*/ 201956 w 607919"/>
                  <a:gd name="connsiteY11" fmla="*/ 551610 h 551610"/>
                  <a:gd name="connsiteX12" fmla="*/ 145363 w 607919"/>
                  <a:gd name="connsiteY12" fmla="*/ 551610 h 551610"/>
                  <a:gd name="connsiteX13" fmla="*/ 145363 w 607919"/>
                  <a:gd name="connsiteY13" fmla="*/ 454170 h 551610"/>
                  <a:gd name="connsiteX14" fmla="*/ 154879 w 607919"/>
                  <a:gd name="connsiteY14" fmla="*/ 431030 h 551610"/>
                  <a:gd name="connsiteX15" fmla="*/ 192315 w 607919"/>
                  <a:gd name="connsiteY15" fmla="*/ 393630 h 551610"/>
                  <a:gd name="connsiteX16" fmla="*/ 199155 w 607919"/>
                  <a:gd name="connsiteY16" fmla="*/ 390799 h 551610"/>
                  <a:gd name="connsiteX17" fmla="*/ 231082 w 607919"/>
                  <a:gd name="connsiteY17" fmla="*/ 388245 h 551610"/>
                  <a:gd name="connsiteX18" fmla="*/ 237930 w 607919"/>
                  <a:gd name="connsiteY18" fmla="*/ 391091 h 551610"/>
                  <a:gd name="connsiteX19" fmla="*/ 266763 w 607919"/>
                  <a:gd name="connsiteY19" fmla="*/ 419867 h 551610"/>
                  <a:gd name="connsiteX20" fmla="*/ 275915 w 607919"/>
                  <a:gd name="connsiteY20" fmla="*/ 428875 h 551610"/>
                  <a:gd name="connsiteX21" fmla="*/ 284941 w 607919"/>
                  <a:gd name="connsiteY21" fmla="*/ 451520 h 551610"/>
                  <a:gd name="connsiteX22" fmla="*/ 284941 w 607919"/>
                  <a:gd name="connsiteY22" fmla="*/ 551610 h 551610"/>
                  <a:gd name="connsiteX23" fmla="*/ 228277 w 607919"/>
                  <a:gd name="connsiteY23" fmla="*/ 551610 h 551610"/>
                  <a:gd name="connsiteX24" fmla="*/ 228277 w 607919"/>
                  <a:gd name="connsiteY24" fmla="*/ 394969 h 551610"/>
                  <a:gd name="connsiteX25" fmla="*/ 231082 w 607919"/>
                  <a:gd name="connsiteY25" fmla="*/ 388245 h 551610"/>
                  <a:gd name="connsiteX26" fmla="*/ 365148 w 607919"/>
                  <a:gd name="connsiteY26" fmla="*/ 381336 h 551610"/>
                  <a:gd name="connsiteX27" fmla="*/ 367997 w 607919"/>
                  <a:gd name="connsiteY27" fmla="*/ 388122 h 551610"/>
                  <a:gd name="connsiteX28" fmla="*/ 367997 w 607919"/>
                  <a:gd name="connsiteY28" fmla="*/ 551610 h 551610"/>
                  <a:gd name="connsiteX29" fmla="*/ 311262 w 607919"/>
                  <a:gd name="connsiteY29" fmla="*/ 551610 h 551610"/>
                  <a:gd name="connsiteX30" fmla="*/ 311262 w 607919"/>
                  <a:gd name="connsiteY30" fmla="*/ 444661 h 551610"/>
                  <a:gd name="connsiteX31" fmla="*/ 316898 w 607919"/>
                  <a:gd name="connsiteY31" fmla="*/ 425523 h 551610"/>
                  <a:gd name="connsiteX32" fmla="*/ 322534 w 607919"/>
                  <a:gd name="connsiteY32" fmla="*/ 419894 h 551610"/>
                  <a:gd name="connsiteX33" fmla="*/ 358353 w 607919"/>
                  <a:gd name="connsiteY33" fmla="*/ 384120 h 551610"/>
                  <a:gd name="connsiteX34" fmla="*/ 365148 w 607919"/>
                  <a:gd name="connsiteY34" fmla="*/ 381336 h 551610"/>
                  <a:gd name="connsiteX35" fmla="*/ 448177 w 607919"/>
                  <a:gd name="connsiteY35" fmla="*/ 298352 h 551610"/>
                  <a:gd name="connsiteX36" fmla="*/ 450982 w 607919"/>
                  <a:gd name="connsiteY36" fmla="*/ 305139 h 551610"/>
                  <a:gd name="connsiteX37" fmla="*/ 450982 w 607919"/>
                  <a:gd name="connsiteY37" fmla="*/ 551610 h 551610"/>
                  <a:gd name="connsiteX38" fmla="*/ 394318 w 607919"/>
                  <a:gd name="connsiteY38" fmla="*/ 551610 h 551610"/>
                  <a:gd name="connsiteX39" fmla="*/ 394318 w 607919"/>
                  <a:gd name="connsiteY39" fmla="*/ 361815 h 551610"/>
                  <a:gd name="connsiteX40" fmla="*/ 403846 w 607919"/>
                  <a:gd name="connsiteY40" fmla="*/ 338669 h 551610"/>
                  <a:gd name="connsiteX41" fmla="*/ 441329 w 607919"/>
                  <a:gd name="connsiteY41" fmla="*/ 301136 h 551610"/>
                  <a:gd name="connsiteX42" fmla="*/ 448177 w 607919"/>
                  <a:gd name="connsiteY42" fmla="*/ 298352 h 551610"/>
                  <a:gd name="connsiteX43" fmla="*/ 527085 w 607919"/>
                  <a:gd name="connsiteY43" fmla="*/ 219452 h 551610"/>
                  <a:gd name="connsiteX44" fmla="*/ 529874 w 607919"/>
                  <a:gd name="connsiteY44" fmla="*/ 226177 h 551610"/>
                  <a:gd name="connsiteX45" fmla="*/ 529874 w 607919"/>
                  <a:gd name="connsiteY45" fmla="*/ 551610 h 551610"/>
                  <a:gd name="connsiteX46" fmla="*/ 477232 w 607919"/>
                  <a:gd name="connsiteY46" fmla="*/ 551610 h 551610"/>
                  <a:gd name="connsiteX47" fmla="*/ 477232 w 607919"/>
                  <a:gd name="connsiteY47" fmla="*/ 278727 h 551610"/>
                  <a:gd name="connsiteX48" fmla="*/ 486883 w 607919"/>
                  <a:gd name="connsiteY48" fmla="*/ 255580 h 551610"/>
                  <a:gd name="connsiteX49" fmla="*/ 520348 w 607919"/>
                  <a:gd name="connsiteY49" fmla="*/ 222298 h 551610"/>
                  <a:gd name="connsiteX50" fmla="*/ 527085 w 607919"/>
                  <a:gd name="connsiteY50" fmla="*/ 219452 h 551610"/>
                  <a:gd name="connsiteX51" fmla="*/ 387769 w 607919"/>
                  <a:gd name="connsiteY51" fmla="*/ 0 h 551610"/>
                  <a:gd name="connsiteX52" fmla="*/ 580729 w 607919"/>
                  <a:gd name="connsiteY52" fmla="*/ 0 h 551610"/>
                  <a:gd name="connsiteX53" fmla="*/ 607919 w 607919"/>
                  <a:gd name="connsiteY53" fmla="*/ 26022 h 551610"/>
                  <a:gd name="connsiteX54" fmla="*/ 607919 w 607919"/>
                  <a:gd name="connsiteY54" fmla="*/ 219812 h 551610"/>
                  <a:gd name="connsiteX55" fmla="*/ 598271 w 607919"/>
                  <a:gd name="connsiteY55" fmla="*/ 223815 h 551610"/>
                  <a:gd name="connsiteX56" fmla="*/ 530610 w 607919"/>
                  <a:gd name="connsiteY56" fmla="*/ 156258 h 551610"/>
                  <a:gd name="connsiteX57" fmla="*/ 304320 w 607919"/>
                  <a:gd name="connsiteY57" fmla="*/ 382325 h 551610"/>
                  <a:gd name="connsiteX58" fmla="*/ 285024 w 607919"/>
                  <a:gd name="connsiteY58" fmla="*/ 382325 h 551610"/>
                  <a:gd name="connsiteX59" fmla="*/ 216360 w 607919"/>
                  <a:gd name="connsiteY59" fmla="*/ 313767 h 551610"/>
                  <a:gd name="connsiteX60" fmla="*/ 94068 w 607919"/>
                  <a:gd name="connsiteY60" fmla="*/ 435996 h 551610"/>
                  <a:gd name="connsiteX61" fmla="*/ 17260 w 607919"/>
                  <a:gd name="connsiteY61" fmla="*/ 435996 h 551610"/>
                  <a:gd name="connsiteX62" fmla="*/ 15882 w 607919"/>
                  <a:gd name="connsiteY62" fmla="*/ 434745 h 551610"/>
                  <a:gd name="connsiteX63" fmla="*/ 15882 w 607919"/>
                  <a:gd name="connsiteY63" fmla="*/ 358055 h 551610"/>
                  <a:gd name="connsiteX64" fmla="*/ 206837 w 607919"/>
                  <a:gd name="connsiteY64" fmla="*/ 167267 h 551610"/>
                  <a:gd name="connsiteX65" fmla="*/ 226008 w 607919"/>
                  <a:gd name="connsiteY65" fmla="*/ 167267 h 551610"/>
                  <a:gd name="connsiteX66" fmla="*/ 294672 w 607919"/>
                  <a:gd name="connsiteY66" fmla="*/ 235701 h 551610"/>
                  <a:gd name="connsiteX67" fmla="*/ 424481 w 607919"/>
                  <a:gd name="connsiteY67" fmla="*/ 105965 h 551610"/>
                  <a:gd name="connsiteX68" fmla="*/ 452423 w 607919"/>
                  <a:gd name="connsiteY68" fmla="*/ 78192 h 551610"/>
                  <a:gd name="connsiteX69" fmla="*/ 383885 w 607919"/>
                  <a:gd name="connsiteY69" fmla="*/ 9633 h 551610"/>
                  <a:gd name="connsiteX70" fmla="*/ 387769 w 607919"/>
                  <a:gd name="connsiteY70" fmla="*/ 0 h 551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607919" h="551610">
                    <a:moveTo>
                      <a:pt x="116112" y="473652"/>
                    </a:moveTo>
                    <a:cubicBezTo>
                      <a:pt x="117836" y="474356"/>
                      <a:pt x="118901" y="476670"/>
                      <a:pt x="118901" y="480423"/>
                    </a:cubicBezTo>
                    <a:lnTo>
                      <a:pt x="118901" y="551610"/>
                    </a:lnTo>
                    <a:lnTo>
                      <a:pt x="55604" y="551610"/>
                    </a:lnTo>
                    <a:lnTo>
                      <a:pt x="55604" y="540851"/>
                    </a:lnTo>
                    <a:cubicBezTo>
                      <a:pt x="55604" y="534971"/>
                      <a:pt x="59991" y="525838"/>
                      <a:pt x="65255" y="520583"/>
                    </a:cubicBezTo>
                    <a:lnTo>
                      <a:pt x="83555" y="502317"/>
                    </a:lnTo>
                    <a:lnTo>
                      <a:pt x="109375" y="476545"/>
                    </a:lnTo>
                    <a:cubicBezTo>
                      <a:pt x="112007" y="473855"/>
                      <a:pt x="114389" y="472948"/>
                      <a:pt x="116112" y="473652"/>
                    </a:cubicBezTo>
                    <a:close/>
                    <a:moveTo>
                      <a:pt x="199155" y="390799"/>
                    </a:moveTo>
                    <a:cubicBezTo>
                      <a:pt x="200892" y="391534"/>
                      <a:pt x="201956" y="393880"/>
                      <a:pt x="201956" y="397632"/>
                    </a:cubicBezTo>
                    <a:lnTo>
                      <a:pt x="201956" y="551610"/>
                    </a:lnTo>
                    <a:lnTo>
                      <a:pt x="145363" y="551610"/>
                    </a:lnTo>
                    <a:lnTo>
                      <a:pt x="145363" y="454170"/>
                    </a:lnTo>
                    <a:cubicBezTo>
                      <a:pt x="145363" y="446665"/>
                      <a:pt x="149620" y="436283"/>
                      <a:pt x="154879" y="431030"/>
                    </a:cubicBezTo>
                    <a:lnTo>
                      <a:pt x="192315" y="393630"/>
                    </a:lnTo>
                    <a:cubicBezTo>
                      <a:pt x="195007" y="390941"/>
                      <a:pt x="197417" y="390065"/>
                      <a:pt x="199155" y="390799"/>
                    </a:cubicBezTo>
                    <a:close/>
                    <a:moveTo>
                      <a:pt x="231082" y="388245"/>
                    </a:moveTo>
                    <a:cubicBezTo>
                      <a:pt x="232822" y="387525"/>
                      <a:pt x="235235" y="388401"/>
                      <a:pt x="237930" y="391091"/>
                    </a:cubicBezTo>
                    <a:lnTo>
                      <a:pt x="266763" y="419867"/>
                    </a:lnTo>
                    <a:lnTo>
                      <a:pt x="275915" y="428875"/>
                    </a:lnTo>
                    <a:cubicBezTo>
                      <a:pt x="280929" y="433879"/>
                      <a:pt x="284941" y="444013"/>
                      <a:pt x="284941" y="451520"/>
                    </a:cubicBezTo>
                    <a:lnTo>
                      <a:pt x="284941" y="551610"/>
                    </a:lnTo>
                    <a:lnTo>
                      <a:pt x="228277" y="551610"/>
                    </a:lnTo>
                    <a:lnTo>
                      <a:pt x="228277" y="394969"/>
                    </a:lnTo>
                    <a:cubicBezTo>
                      <a:pt x="228277" y="391278"/>
                      <a:pt x="229343" y="388964"/>
                      <a:pt x="231082" y="388245"/>
                    </a:cubicBezTo>
                    <a:close/>
                    <a:moveTo>
                      <a:pt x="365148" y="381336"/>
                    </a:moveTo>
                    <a:cubicBezTo>
                      <a:pt x="366901" y="382055"/>
                      <a:pt x="367997" y="384370"/>
                      <a:pt x="367997" y="388122"/>
                    </a:cubicBezTo>
                    <a:lnTo>
                      <a:pt x="367997" y="551610"/>
                    </a:lnTo>
                    <a:lnTo>
                      <a:pt x="311262" y="551610"/>
                    </a:lnTo>
                    <a:lnTo>
                      <a:pt x="311262" y="444661"/>
                    </a:lnTo>
                    <a:cubicBezTo>
                      <a:pt x="311262" y="437156"/>
                      <a:pt x="313767" y="428650"/>
                      <a:pt x="316898" y="425523"/>
                    </a:cubicBezTo>
                    <a:cubicBezTo>
                      <a:pt x="320029" y="422396"/>
                      <a:pt x="322534" y="419894"/>
                      <a:pt x="322534" y="419894"/>
                    </a:cubicBezTo>
                    <a:lnTo>
                      <a:pt x="358353" y="384120"/>
                    </a:lnTo>
                    <a:cubicBezTo>
                      <a:pt x="360983" y="381493"/>
                      <a:pt x="363394" y="380617"/>
                      <a:pt x="365148" y="381336"/>
                    </a:cubicBezTo>
                    <a:close/>
                    <a:moveTo>
                      <a:pt x="448177" y="298352"/>
                    </a:moveTo>
                    <a:cubicBezTo>
                      <a:pt x="449916" y="299071"/>
                      <a:pt x="450982" y="301386"/>
                      <a:pt x="450982" y="305139"/>
                    </a:cubicBezTo>
                    <a:lnTo>
                      <a:pt x="450982" y="551610"/>
                    </a:lnTo>
                    <a:lnTo>
                      <a:pt x="394318" y="551610"/>
                    </a:lnTo>
                    <a:lnTo>
                      <a:pt x="394318" y="361815"/>
                    </a:lnTo>
                    <a:cubicBezTo>
                      <a:pt x="394318" y="354308"/>
                      <a:pt x="398580" y="343924"/>
                      <a:pt x="403846" y="338669"/>
                    </a:cubicBezTo>
                    <a:lnTo>
                      <a:pt x="441329" y="301136"/>
                    </a:lnTo>
                    <a:cubicBezTo>
                      <a:pt x="444024" y="298508"/>
                      <a:pt x="446438" y="297633"/>
                      <a:pt x="448177" y="298352"/>
                    </a:cubicBezTo>
                    <a:close/>
                    <a:moveTo>
                      <a:pt x="527085" y="219452"/>
                    </a:moveTo>
                    <a:cubicBezTo>
                      <a:pt x="528809" y="220171"/>
                      <a:pt x="529874" y="222486"/>
                      <a:pt x="529874" y="226177"/>
                    </a:cubicBezTo>
                    <a:lnTo>
                      <a:pt x="529874" y="551610"/>
                    </a:lnTo>
                    <a:lnTo>
                      <a:pt x="477232" y="551610"/>
                    </a:lnTo>
                    <a:lnTo>
                      <a:pt x="477232" y="278727"/>
                    </a:lnTo>
                    <a:cubicBezTo>
                      <a:pt x="477232" y="271345"/>
                      <a:pt x="481494" y="260960"/>
                      <a:pt x="486883" y="255580"/>
                    </a:cubicBezTo>
                    <a:lnTo>
                      <a:pt x="520348" y="222298"/>
                    </a:lnTo>
                    <a:cubicBezTo>
                      <a:pt x="522980" y="219608"/>
                      <a:pt x="525362" y="218732"/>
                      <a:pt x="527085" y="219452"/>
                    </a:cubicBezTo>
                    <a:close/>
                    <a:moveTo>
                      <a:pt x="387769" y="0"/>
                    </a:moveTo>
                    <a:lnTo>
                      <a:pt x="580729" y="0"/>
                    </a:lnTo>
                    <a:cubicBezTo>
                      <a:pt x="594512" y="0"/>
                      <a:pt x="607919" y="12135"/>
                      <a:pt x="607919" y="26022"/>
                    </a:cubicBezTo>
                    <a:lnTo>
                      <a:pt x="607919" y="219812"/>
                    </a:lnTo>
                    <a:cubicBezTo>
                      <a:pt x="607919" y="227318"/>
                      <a:pt x="603534" y="229070"/>
                      <a:pt x="598271" y="223815"/>
                    </a:cubicBezTo>
                    <a:lnTo>
                      <a:pt x="530610" y="156258"/>
                    </a:lnTo>
                    <a:lnTo>
                      <a:pt x="304320" y="382325"/>
                    </a:lnTo>
                    <a:cubicBezTo>
                      <a:pt x="298932" y="387580"/>
                      <a:pt x="290412" y="387580"/>
                      <a:pt x="285024" y="382325"/>
                    </a:cubicBezTo>
                    <a:lnTo>
                      <a:pt x="216360" y="313767"/>
                    </a:lnTo>
                    <a:lnTo>
                      <a:pt x="94068" y="435996"/>
                    </a:lnTo>
                    <a:cubicBezTo>
                      <a:pt x="72767" y="457264"/>
                      <a:pt x="38435" y="457264"/>
                      <a:pt x="17260" y="435996"/>
                    </a:cubicBezTo>
                    <a:lnTo>
                      <a:pt x="15882" y="434745"/>
                    </a:lnTo>
                    <a:cubicBezTo>
                      <a:pt x="-5294" y="413477"/>
                      <a:pt x="-5294" y="379198"/>
                      <a:pt x="15882" y="358055"/>
                    </a:cubicBezTo>
                    <a:lnTo>
                      <a:pt x="206837" y="167267"/>
                    </a:lnTo>
                    <a:cubicBezTo>
                      <a:pt x="212100" y="161888"/>
                      <a:pt x="220745" y="161888"/>
                      <a:pt x="226008" y="167267"/>
                    </a:cubicBezTo>
                    <a:lnTo>
                      <a:pt x="294672" y="235701"/>
                    </a:lnTo>
                    <a:lnTo>
                      <a:pt x="424481" y="105965"/>
                    </a:lnTo>
                    <a:lnTo>
                      <a:pt x="452423" y="78192"/>
                    </a:lnTo>
                    <a:lnTo>
                      <a:pt x="383885" y="9633"/>
                    </a:lnTo>
                    <a:cubicBezTo>
                      <a:pt x="378497" y="4379"/>
                      <a:pt x="380376" y="0"/>
                      <a:pt x="38776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</p:grp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索引组织方式示例</a:t>
            </a:r>
          </a:p>
        </p:txBody>
      </p:sp>
      <p:pic>
        <p:nvPicPr>
          <p:cNvPr id="34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59" t="682" r="8002" b="1366"/>
          <a:stretch>
            <a:fillRect/>
          </a:stretch>
        </p:blipFill>
        <p:spPr>
          <a:xfrm>
            <a:off x="1949589" y="1120251"/>
            <a:ext cx="7691561" cy="5031346"/>
          </a:xfrm>
          <a:prstGeom prst="rect">
            <a:avLst/>
          </a:prstGeom>
          <a:noFill/>
          <a:ln w="38100" cmpd="dbl">
            <a:solidFill>
              <a:srgbClr val="CC66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多级索引组织方式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170936" y="1098889"/>
            <a:ext cx="5049785" cy="5154301"/>
          </a:xfrm>
          <a:prstGeom prst="rect">
            <a:avLst/>
          </a:prstGeom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增量式（混合）索引组织方式</a:t>
            </a:r>
          </a:p>
        </p:txBody>
      </p:sp>
      <p:grpSp>
        <p:nvGrpSpPr>
          <p:cNvPr id="5" name="21764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513128" y="1197344"/>
            <a:ext cx="11165744" cy="5460904"/>
            <a:chOff x="516303" y="1929384"/>
            <a:chExt cx="11165744" cy="5460904"/>
          </a:xfrm>
        </p:grpSpPr>
        <p:sp>
          <p:nvSpPr>
            <p:cNvPr id="6" name="ïsḷîḋê"/>
            <p:cNvSpPr/>
            <p:nvPr/>
          </p:nvSpPr>
          <p:spPr>
            <a:xfrm>
              <a:off x="673100" y="1929384"/>
              <a:ext cx="10845800" cy="2125980"/>
            </a:xfrm>
            <a:prstGeom prst="rightArrow">
              <a:avLst>
                <a:gd name="adj1" fmla="val 50000"/>
                <a:gd name="adj2" fmla="val 42258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7" name="ïṩḻíḑe"/>
            <p:cNvSpPr/>
            <p:nvPr/>
          </p:nvSpPr>
          <p:spPr>
            <a:xfrm rot="2700000">
              <a:off x="1148317" y="2189617"/>
              <a:ext cx="1605516" cy="1605516"/>
            </a:xfrm>
            <a:custGeom>
              <a:avLst/>
              <a:gdLst>
                <a:gd name="connsiteX0" fmla="*/ 135628 w 1605516"/>
                <a:gd name="connsiteY0" fmla="*/ 135628 h 1605516"/>
                <a:gd name="connsiteX1" fmla="*/ 463063 w 1605516"/>
                <a:gd name="connsiteY1" fmla="*/ 0 h 1605516"/>
                <a:gd name="connsiteX2" fmla="*/ 1142453 w 1605516"/>
                <a:gd name="connsiteY2" fmla="*/ 0 h 1605516"/>
                <a:gd name="connsiteX3" fmla="*/ 1605516 w 1605516"/>
                <a:gd name="connsiteY3" fmla="*/ 463063 h 1605516"/>
                <a:gd name="connsiteX4" fmla="*/ 1605516 w 1605516"/>
                <a:gd name="connsiteY4" fmla="*/ 1142453 h 1605516"/>
                <a:gd name="connsiteX5" fmla="*/ 1142453 w 1605516"/>
                <a:gd name="connsiteY5" fmla="*/ 1605516 h 1605516"/>
                <a:gd name="connsiteX6" fmla="*/ 463063 w 1605516"/>
                <a:gd name="connsiteY6" fmla="*/ 1605516 h 1605516"/>
                <a:gd name="connsiteX7" fmla="*/ 282818 w 1605516"/>
                <a:gd name="connsiteY7" fmla="*/ 1569126 h 1605516"/>
                <a:gd name="connsiteX8" fmla="*/ 247355 w 1605516"/>
                <a:gd name="connsiteY8" fmla="*/ 1549878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637 w 1605516"/>
                <a:gd name="connsiteY14" fmla="*/ 1358159 h 1605516"/>
                <a:gd name="connsiteX15" fmla="*/ 36390 w 1605516"/>
                <a:gd name="connsiteY15" fmla="*/ 1322698 h 1605516"/>
                <a:gd name="connsiteX16" fmla="*/ 0 w 1605516"/>
                <a:gd name="connsiteY16" fmla="*/ 1142453 h 1605516"/>
                <a:gd name="connsiteX17" fmla="*/ 0 w 1605516"/>
                <a:gd name="connsiteY17" fmla="*/ 463063 h 1605516"/>
                <a:gd name="connsiteX18" fmla="*/ 135628 w 1605516"/>
                <a:gd name="connsiteY18" fmla="*/ 135628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628" y="135628"/>
                  </a:moveTo>
                  <a:cubicBezTo>
                    <a:pt x="219426" y="51830"/>
                    <a:pt x="335192" y="0"/>
                    <a:pt x="463063" y="0"/>
                  </a:cubicBezTo>
                  <a:lnTo>
                    <a:pt x="1142453" y="0"/>
                  </a:lnTo>
                  <a:cubicBezTo>
                    <a:pt x="1398196" y="0"/>
                    <a:pt x="1605516" y="207320"/>
                    <a:pt x="1605516" y="463063"/>
                  </a:cubicBezTo>
                  <a:lnTo>
                    <a:pt x="1605516" y="1142453"/>
                  </a:lnTo>
                  <a:cubicBezTo>
                    <a:pt x="1605516" y="1398196"/>
                    <a:pt x="1398196" y="1605516"/>
                    <a:pt x="1142453" y="1605516"/>
                  </a:cubicBezTo>
                  <a:lnTo>
                    <a:pt x="463063" y="1605516"/>
                  </a:lnTo>
                  <a:cubicBezTo>
                    <a:pt x="399127" y="1605516"/>
                    <a:pt x="338218" y="1592559"/>
                    <a:pt x="282818" y="1569126"/>
                  </a:cubicBezTo>
                  <a:lnTo>
                    <a:pt x="247355" y="1549878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637" y="1358159"/>
                  </a:lnTo>
                  <a:lnTo>
                    <a:pt x="36390" y="1322698"/>
                  </a:lnTo>
                  <a:cubicBezTo>
                    <a:pt x="12957" y="1267298"/>
                    <a:pt x="0" y="1206389"/>
                    <a:pt x="0" y="1142453"/>
                  </a:cubicBezTo>
                  <a:lnTo>
                    <a:pt x="0" y="463063"/>
                  </a:lnTo>
                  <a:cubicBezTo>
                    <a:pt x="0" y="335192"/>
                    <a:pt x="51830" y="219426"/>
                    <a:pt x="135628" y="135628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8" name="is1íḑe"/>
            <p:cNvSpPr/>
            <p:nvPr/>
          </p:nvSpPr>
          <p:spPr>
            <a:xfrm rot="2700000">
              <a:off x="3911600" y="2189617"/>
              <a:ext cx="1605516" cy="1605516"/>
            </a:xfrm>
            <a:custGeom>
              <a:avLst/>
              <a:gdLst>
                <a:gd name="connsiteX0" fmla="*/ 135459 w 1605516"/>
                <a:gd name="connsiteY0" fmla="*/ 135459 h 1605516"/>
                <a:gd name="connsiteX1" fmla="*/ 462485 w 1605516"/>
                <a:gd name="connsiteY1" fmla="*/ 0 h 1605516"/>
                <a:gd name="connsiteX2" fmla="*/ 1143031 w 1605516"/>
                <a:gd name="connsiteY2" fmla="*/ 0 h 1605516"/>
                <a:gd name="connsiteX3" fmla="*/ 1605516 w 1605516"/>
                <a:gd name="connsiteY3" fmla="*/ 462485 h 1605516"/>
                <a:gd name="connsiteX4" fmla="*/ 1605516 w 1605516"/>
                <a:gd name="connsiteY4" fmla="*/ 1143031 h 1605516"/>
                <a:gd name="connsiteX5" fmla="*/ 1143031 w 1605516"/>
                <a:gd name="connsiteY5" fmla="*/ 1605516 h 1605516"/>
                <a:gd name="connsiteX6" fmla="*/ 462485 w 1605516"/>
                <a:gd name="connsiteY6" fmla="*/ 1605516 h 1605516"/>
                <a:gd name="connsiteX7" fmla="*/ 282465 w 1605516"/>
                <a:gd name="connsiteY7" fmla="*/ 1569172 h 1605516"/>
                <a:gd name="connsiteX8" fmla="*/ 247202 w 1605516"/>
                <a:gd name="connsiteY8" fmla="*/ 1550031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484 w 1605516"/>
                <a:gd name="connsiteY14" fmla="*/ 1358313 h 1605516"/>
                <a:gd name="connsiteX15" fmla="*/ 36345 w 1605516"/>
                <a:gd name="connsiteY15" fmla="*/ 1323051 h 1605516"/>
                <a:gd name="connsiteX16" fmla="*/ 0 w 1605516"/>
                <a:gd name="connsiteY16" fmla="*/ 1143031 h 1605516"/>
                <a:gd name="connsiteX17" fmla="*/ 0 w 1605516"/>
                <a:gd name="connsiteY17" fmla="*/ 462485 h 1605516"/>
                <a:gd name="connsiteX18" fmla="*/ 135459 w 1605516"/>
                <a:gd name="connsiteY18" fmla="*/ 135459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59" y="135459"/>
                  </a:moveTo>
                  <a:cubicBezTo>
                    <a:pt x="219152" y="51765"/>
                    <a:pt x="334773" y="0"/>
                    <a:pt x="462485" y="0"/>
                  </a:cubicBezTo>
                  <a:lnTo>
                    <a:pt x="1143031" y="0"/>
                  </a:lnTo>
                  <a:cubicBezTo>
                    <a:pt x="1398454" y="0"/>
                    <a:pt x="1605516" y="207062"/>
                    <a:pt x="1605516" y="462485"/>
                  </a:cubicBezTo>
                  <a:lnTo>
                    <a:pt x="1605516" y="1143031"/>
                  </a:lnTo>
                  <a:cubicBezTo>
                    <a:pt x="1605516" y="1398454"/>
                    <a:pt x="1398454" y="1605516"/>
                    <a:pt x="1143031" y="1605516"/>
                  </a:cubicBezTo>
                  <a:lnTo>
                    <a:pt x="462485" y="1605516"/>
                  </a:lnTo>
                  <a:cubicBezTo>
                    <a:pt x="398629" y="1605516"/>
                    <a:pt x="337796" y="1592575"/>
                    <a:pt x="282465" y="1569172"/>
                  </a:cubicBezTo>
                  <a:lnTo>
                    <a:pt x="247202" y="1550031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484" y="1358313"/>
                  </a:lnTo>
                  <a:lnTo>
                    <a:pt x="36345" y="1323051"/>
                  </a:lnTo>
                  <a:cubicBezTo>
                    <a:pt x="12941" y="1267720"/>
                    <a:pt x="0" y="1206887"/>
                    <a:pt x="0" y="1143031"/>
                  </a:cubicBezTo>
                  <a:lnTo>
                    <a:pt x="0" y="462485"/>
                  </a:lnTo>
                  <a:cubicBezTo>
                    <a:pt x="0" y="334773"/>
                    <a:pt x="51765" y="219152"/>
                    <a:pt x="135459" y="13545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9" name="íṡ1ïḋé"/>
            <p:cNvSpPr/>
            <p:nvPr/>
          </p:nvSpPr>
          <p:spPr>
            <a:xfrm rot="2700000">
              <a:off x="6674883" y="2189617"/>
              <a:ext cx="1605516" cy="1605516"/>
            </a:xfrm>
            <a:custGeom>
              <a:avLst/>
              <a:gdLst>
                <a:gd name="connsiteX0" fmla="*/ 135431 w 1605516"/>
                <a:gd name="connsiteY0" fmla="*/ 135431 h 1605516"/>
                <a:gd name="connsiteX1" fmla="*/ 462389 w 1605516"/>
                <a:gd name="connsiteY1" fmla="*/ 0 h 1605516"/>
                <a:gd name="connsiteX2" fmla="*/ 1143127 w 1605516"/>
                <a:gd name="connsiteY2" fmla="*/ 0 h 1605516"/>
                <a:gd name="connsiteX3" fmla="*/ 1605516 w 1605516"/>
                <a:gd name="connsiteY3" fmla="*/ 462389 h 1605516"/>
                <a:gd name="connsiteX4" fmla="*/ 1605516 w 1605516"/>
                <a:gd name="connsiteY4" fmla="*/ 1143127 h 1605516"/>
                <a:gd name="connsiteX5" fmla="*/ 1143127 w 1605516"/>
                <a:gd name="connsiteY5" fmla="*/ 1605516 h 1605516"/>
                <a:gd name="connsiteX6" fmla="*/ 462389 w 1605516"/>
                <a:gd name="connsiteY6" fmla="*/ 1605516 h 1605516"/>
                <a:gd name="connsiteX7" fmla="*/ 282407 w 1605516"/>
                <a:gd name="connsiteY7" fmla="*/ 1569179 h 1605516"/>
                <a:gd name="connsiteX8" fmla="*/ 247177 w 1605516"/>
                <a:gd name="connsiteY8" fmla="*/ 1550057 h 1605516"/>
                <a:gd name="connsiteX9" fmla="*/ 706899 w 1605516"/>
                <a:gd name="connsiteY9" fmla="*/ 1090335 h 1605516"/>
                <a:gd name="connsiteX10" fmla="*/ 802758 w 1605516"/>
                <a:gd name="connsiteY10" fmla="*/ 1186194 h 1605516"/>
                <a:gd name="connsiteX11" fmla="*/ 802758 w 1605516"/>
                <a:gd name="connsiteY11" fmla="*/ 802758 h 1605516"/>
                <a:gd name="connsiteX12" fmla="*/ 419322 w 1605516"/>
                <a:gd name="connsiteY12" fmla="*/ 802758 h 1605516"/>
                <a:gd name="connsiteX13" fmla="*/ 515181 w 1605516"/>
                <a:gd name="connsiteY13" fmla="*/ 898617 h 1605516"/>
                <a:gd name="connsiteX14" fmla="*/ 55459 w 1605516"/>
                <a:gd name="connsiteY14" fmla="*/ 1358339 h 1605516"/>
                <a:gd name="connsiteX15" fmla="*/ 36337 w 1605516"/>
                <a:gd name="connsiteY15" fmla="*/ 1323109 h 1605516"/>
                <a:gd name="connsiteX16" fmla="*/ 0 w 1605516"/>
                <a:gd name="connsiteY16" fmla="*/ 1143127 h 1605516"/>
                <a:gd name="connsiteX17" fmla="*/ 0 w 1605516"/>
                <a:gd name="connsiteY17" fmla="*/ 462389 h 1605516"/>
                <a:gd name="connsiteX18" fmla="*/ 135431 w 1605516"/>
                <a:gd name="connsiteY18" fmla="*/ 135431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31" y="135431"/>
                  </a:moveTo>
                  <a:cubicBezTo>
                    <a:pt x="219107" y="51755"/>
                    <a:pt x="334704" y="0"/>
                    <a:pt x="462389" y="0"/>
                  </a:cubicBezTo>
                  <a:lnTo>
                    <a:pt x="1143127" y="0"/>
                  </a:lnTo>
                  <a:cubicBezTo>
                    <a:pt x="1398497" y="0"/>
                    <a:pt x="1605516" y="207019"/>
                    <a:pt x="1605516" y="462389"/>
                  </a:cubicBezTo>
                  <a:lnTo>
                    <a:pt x="1605516" y="1143127"/>
                  </a:lnTo>
                  <a:cubicBezTo>
                    <a:pt x="1605516" y="1398497"/>
                    <a:pt x="1398497" y="1605516"/>
                    <a:pt x="1143127" y="1605516"/>
                  </a:cubicBezTo>
                  <a:lnTo>
                    <a:pt x="462389" y="1605516"/>
                  </a:lnTo>
                  <a:cubicBezTo>
                    <a:pt x="398546" y="1605516"/>
                    <a:pt x="337726" y="1592577"/>
                    <a:pt x="282407" y="1569179"/>
                  </a:cubicBezTo>
                  <a:lnTo>
                    <a:pt x="247177" y="1550057"/>
                  </a:lnTo>
                  <a:lnTo>
                    <a:pt x="706899" y="1090335"/>
                  </a:lnTo>
                  <a:lnTo>
                    <a:pt x="802758" y="1186194"/>
                  </a:lnTo>
                  <a:lnTo>
                    <a:pt x="802758" y="802758"/>
                  </a:lnTo>
                  <a:lnTo>
                    <a:pt x="419322" y="802758"/>
                  </a:lnTo>
                  <a:lnTo>
                    <a:pt x="515181" y="898617"/>
                  </a:lnTo>
                  <a:lnTo>
                    <a:pt x="55459" y="1358339"/>
                  </a:lnTo>
                  <a:lnTo>
                    <a:pt x="36337" y="1323109"/>
                  </a:lnTo>
                  <a:cubicBezTo>
                    <a:pt x="12939" y="1267790"/>
                    <a:pt x="0" y="1206970"/>
                    <a:pt x="0" y="1143127"/>
                  </a:cubicBezTo>
                  <a:lnTo>
                    <a:pt x="0" y="462389"/>
                  </a:lnTo>
                  <a:cubicBezTo>
                    <a:pt x="0" y="334704"/>
                    <a:pt x="51755" y="219107"/>
                    <a:pt x="135431" y="135431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10" name="îṡlíḓè"/>
            <p:cNvSpPr/>
            <p:nvPr/>
          </p:nvSpPr>
          <p:spPr>
            <a:xfrm rot="2700000">
              <a:off x="9438167" y="2189617"/>
              <a:ext cx="1605516" cy="1605516"/>
            </a:xfrm>
            <a:custGeom>
              <a:avLst/>
              <a:gdLst>
                <a:gd name="connsiteX0" fmla="*/ 135431 w 1605516"/>
                <a:gd name="connsiteY0" fmla="*/ 135431 h 1605516"/>
                <a:gd name="connsiteX1" fmla="*/ 462389 w 1605516"/>
                <a:gd name="connsiteY1" fmla="*/ 0 h 1605516"/>
                <a:gd name="connsiteX2" fmla="*/ 1143127 w 1605516"/>
                <a:gd name="connsiteY2" fmla="*/ 0 h 1605516"/>
                <a:gd name="connsiteX3" fmla="*/ 1605516 w 1605516"/>
                <a:gd name="connsiteY3" fmla="*/ 462389 h 1605516"/>
                <a:gd name="connsiteX4" fmla="*/ 1605516 w 1605516"/>
                <a:gd name="connsiteY4" fmla="*/ 1143127 h 1605516"/>
                <a:gd name="connsiteX5" fmla="*/ 1143127 w 1605516"/>
                <a:gd name="connsiteY5" fmla="*/ 1605516 h 1605516"/>
                <a:gd name="connsiteX6" fmla="*/ 462389 w 1605516"/>
                <a:gd name="connsiteY6" fmla="*/ 1605516 h 1605516"/>
                <a:gd name="connsiteX7" fmla="*/ 282406 w 1605516"/>
                <a:gd name="connsiteY7" fmla="*/ 1569179 h 1605516"/>
                <a:gd name="connsiteX8" fmla="*/ 247176 w 1605516"/>
                <a:gd name="connsiteY8" fmla="*/ 1550057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459 w 1605516"/>
                <a:gd name="connsiteY14" fmla="*/ 1358338 h 1605516"/>
                <a:gd name="connsiteX15" fmla="*/ 36337 w 1605516"/>
                <a:gd name="connsiteY15" fmla="*/ 1323110 h 1605516"/>
                <a:gd name="connsiteX16" fmla="*/ 0 w 1605516"/>
                <a:gd name="connsiteY16" fmla="*/ 1143127 h 1605516"/>
                <a:gd name="connsiteX17" fmla="*/ 0 w 1605516"/>
                <a:gd name="connsiteY17" fmla="*/ 462389 h 1605516"/>
                <a:gd name="connsiteX18" fmla="*/ 135431 w 1605516"/>
                <a:gd name="connsiteY18" fmla="*/ 135431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31" y="135431"/>
                  </a:moveTo>
                  <a:cubicBezTo>
                    <a:pt x="219107" y="51755"/>
                    <a:pt x="334704" y="0"/>
                    <a:pt x="462389" y="0"/>
                  </a:cubicBezTo>
                  <a:lnTo>
                    <a:pt x="1143127" y="0"/>
                  </a:lnTo>
                  <a:cubicBezTo>
                    <a:pt x="1398497" y="0"/>
                    <a:pt x="1605516" y="207019"/>
                    <a:pt x="1605516" y="462389"/>
                  </a:cubicBezTo>
                  <a:lnTo>
                    <a:pt x="1605516" y="1143127"/>
                  </a:lnTo>
                  <a:cubicBezTo>
                    <a:pt x="1605516" y="1398497"/>
                    <a:pt x="1398497" y="1605516"/>
                    <a:pt x="1143127" y="1605516"/>
                  </a:cubicBezTo>
                  <a:lnTo>
                    <a:pt x="462389" y="1605516"/>
                  </a:lnTo>
                  <a:cubicBezTo>
                    <a:pt x="398547" y="1605516"/>
                    <a:pt x="337726" y="1592577"/>
                    <a:pt x="282406" y="1569179"/>
                  </a:cubicBezTo>
                  <a:lnTo>
                    <a:pt x="247176" y="1550057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459" y="1358338"/>
                  </a:lnTo>
                  <a:lnTo>
                    <a:pt x="36337" y="1323110"/>
                  </a:lnTo>
                  <a:cubicBezTo>
                    <a:pt x="12939" y="1267790"/>
                    <a:pt x="0" y="1206969"/>
                    <a:pt x="0" y="1143127"/>
                  </a:cubicBezTo>
                  <a:lnTo>
                    <a:pt x="0" y="462389"/>
                  </a:lnTo>
                  <a:cubicBezTo>
                    <a:pt x="0" y="334704"/>
                    <a:pt x="51755" y="219107"/>
                    <a:pt x="135431" y="13543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11" name="isľîdê"/>
            <p:cNvSpPr txBox="1"/>
            <p:nvPr/>
          </p:nvSpPr>
          <p:spPr>
            <a:xfrm>
              <a:off x="516303" y="4160181"/>
              <a:ext cx="2558641" cy="30347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0" lvl="1">
                <a:lnSpc>
                  <a:spcPct val="120000"/>
                </a:lnSpc>
                <a:buClr>
                  <a:srgbClr val="FFC000"/>
                </a:buClr>
              </a:pPr>
              <a:r>
                <a:rPr lang="zh-CN" altLang="en-US" sz="2200" dirty="0"/>
                <a:t>对于小文件（如大小为</a:t>
              </a:r>
              <a:r>
                <a:rPr lang="en-US" altLang="zh-CN" sz="2200" dirty="0"/>
                <a:t>1KB-10KB</a:t>
              </a:r>
              <a:r>
                <a:rPr lang="zh-CN" altLang="en-US" sz="2200" dirty="0"/>
                <a:t>或</a:t>
              </a:r>
              <a:r>
                <a:rPr lang="en-US" altLang="zh-CN" sz="2200" dirty="0"/>
                <a:t>4KB-40KB</a:t>
              </a:r>
              <a:r>
                <a:rPr lang="zh-CN" altLang="en-US" sz="2200" dirty="0"/>
                <a:t>）</a:t>
              </a:r>
            </a:p>
            <a:p>
              <a:pPr marL="342900" lvl="1" indent="-342900">
                <a:lnSpc>
                  <a:spcPct val="120000"/>
                </a:lnSpc>
                <a:buClr>
                  <a:srgbClr val="FFC000"/>
                </a:buClr>
                <a:buFont typeface="Wingdings" panose="05000000000000000000" pitchFamily="2" charset="2"/>
                <a:buChar char="Ø"/>
              </a:pPr>
              <a:r>
                <a:rPr lang="zh-CN" altLang="en-US" sz="2200" dirty="0"/>
                <a:t>可直接寻址（直接从</a:t>
              </a:r>
              <a:r>
                <a:rPr lang="en-US" altLang="zh-CN" sz="2200" dirty="0"/>
                <a:t>FCB</a:t>
              </a:r>
              <a:r>
                <a:rPr lang="zh-CN" altLang="en-US" sz="2200" dirty="0"/>
                <a:t>获得文件的盘块地址）</a:t>
              </a:r>
            </a:p>
          </p:txBody>
        </p:sp>
        <p:sp>
          <p:nvSpPr>
            <p:cNvPr id="12" name="îṣḻidé"/>
            <p:cNvSpPr txBox="1"/>
            <p:nvPr/>
          </p:nvSpPr>
          <p:spPr>
            <a:xfrm>
              <a:off x="1960664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13" name="ïŝ1ïḋè"/>
            <p:cNvSpPr txBox="1"/>
            <p:nvPr/>
          </p:nvSpPr>
          <p:spPr>
            <a:xfrm>
              <a:off x="4741597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14" name="í$lîdé"/>
            <p:cNvSpPr txBox="1"/>
            <p:nvPr/>
          </p:nvSpPr>
          <p:spPr>
            <a:xfrm>
              <a:off x="7522530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15" name="išḻïďè"/>
            <p:cNvSpPr txBox="1"/>
            <p:nvPr/>
          </p:nvSpPr>
          <p:spPr>
            <a:xfrm>
              <a:off x="10303464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16" name="isľîdê"/>
            <p:cNvSpPr txBox="1"/>
            <p:nvPr/>
          </p:nvSpPr>
          <p:spPr>
            <a:xfrm>
              <a:off x="3243282" y="4193772"/>
              <a:ext cx="2606348" cy="26816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0" lvl="1">
                <a:lnSpc>
                  <a:spcPct val="120000"/>
                </a:lnSpc>
                <a:buClr>
                  <a:srgbClr val="FFC000"/>
                </a:buClr>
              </a:pPr>
              <a:r>
                <a:rPr lang="zh-CN" altLang="en-US" sz="2200" dirty="0"/>
                <a:t>对于中文件（如大小为</a:t>
              </a:r>
              <a:r>
                <a:rPr lang="en-US" altLang="zh-CN" sz="2200" dirty="0"/>
                <a:t>11KB-256KB</a:t>
              </a:r>
              <a:r>
                <a:rPr lang="zh-CN" altLang="en-US" sz="2200" dirty="0"/>
                <a:t>或</a:t>
              </a:r>
              <a:r>
                <a:rPr lang="en-US" altLang="zh-CN" sz="2200" dirty="0"/>
                <a:t>5KB-4MB</a:t>
              </a:r>
              <a:r>
                <a:rPr lang="zh-CN" altLang="en-US" sz="2200" dirty="0"/>
                <a:t>）</a:t>
              </a:r>
            </a:p>
            <a:p>
              <a:pPr marL="342900" lvl="1" indent="-342900">
                <a:lnSpc>
                  <a:spcPct val="120000"/>
                </a:lnSpc>
                <a:buClr>
                  <a:srgbClr val="FFC000"/>
                </a:buClr>
                <a:buFont typeface="Wingdings" panose="05000000000000000000" pitchFamily="2" charset="2"/>
                <a:buChar char="Ø"/>
              </a:pPr>
              <a:r>
                <a:rPr lang="zh-CN" altLang="en-US" sz="2200" dirty="0"/>
                <a:t>可一次间址（从</a:t>
              </a:r>
              <a:r>
                <a:rPr lang="en-US" altLang="zh-CN" sz="2200" dirty="0"/>
                <a:t>FCB</a:t>
              </a:r>
              <a:r>
                <a:rPr lang="zh-CN" altLang="en-US" sz="2200" dirty="0"/>
                <a:t>中找到该文件的索引表）</a:t>
              </a:r>
            </a:p>
          </p:txBody>
        </p:sp>
        <p:sp>
          <p:nvSpPr>
            <p:cNvPr id="17" name="isľîdê"/>
            <p:cNvSpPr txBox="1"/>
            <p:nvPr/>
          </p:nvSpPr>
          <p:spPr>
            <a:xfrm>
              <a:off x="6165124" y="4193772"/>
              <a:ext cx="2447789" cy="227054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0" lvl="1">
                <a:lnSpc>
                  <a:spcPct val="120000"/>
                </a:lnSpc>
                <a:buClr>
                  <a:srgbClr val="FFC000"/>
                </a:buClr>
              </a:pPr>
              <a:r>
                <a:rPr lang="zh-CN" altLang="en-US" sz="2200" dirty="0"/>
                <a:t>对于大型和特大型文件</a:t>
              </a:r>
            </a:p>
            <a:p>
              <a:pPr marL="342900" lvl="1" indent="-342900">
                <a:lnSpc>
                  <a:spcPct val="120000"/>
                </a:lnSpc>
                <a:buClr>
                  <a:srgbClr val="FFC000"/>
                </a:buClr>
                <a:buFont typeface="Wingdings" panose="05000000000000000000" pitchFamily="2" charset="2"/>
                <a:buChar char="Ø"/>
              </a:pPr>
              <a:r>
                <a:rPr lang="zh-CN" altLang="en-US" sz="2200" dirty="0"/>
                <a:t>可二次或三次间址（两级或三级索引组织方式）</a:t>
              </a:r>
            </a:p>
          </p:txBody>
        </p:sp>
        <p:sp>
          <p:nvSpPr>
            <p:cNvPr id="18" name="isľîdê"/>
            <p:cNvSpPr txBox="1"/>
            <p:nvPr/>
          </p:nvSpPr>
          <p:spPr>
            <a:xfrm>
              <a:off x="8928407" y="4179586"/>
              <a:ext cx="2753640" cy="321070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0" lvl="1">
                <a:lnSpc>
                  <a:spcPct val="120000"/>
                </a:lnSpc>
                <a:buClr>
                  <a:srgbClr val="FFC000"/>
                </a:buClr>
              </a:pPr>
              <a:r>
                <a:rPr lang="zh-CN" altLang="en-US" sz="2200" dirty="0">
                  <a:solidFill>
                    <a:srgbClr val="FF0000"/>
                  </a:solidFill>
                </a:rPr>
                <a:t>增量式索引组织方式</a:t>
              </a:r>
              <a:r>
                <a:rPr lang="zh-CN" altLang="en-US" sz="2200" dirty="0"/>
                <a:t>（混合索引组织方式）</a:t>
              </a:r>
            </a:p>
            <a:p>
              <a:pPr marL="342900" lvl="1" indent="-342900">
                <a:lnSpc>
                  <a:spcPct val="120000"/>
                </a:lnSpc>
                <a:buClr>
                  <a:srgbClr val="FFC000"/>
                </a:buClr>
                <a:buFont typeface="Wingdings" panose="05000000000000000000" pitchFamily="2" charset="2"/>
                <a:buChar char="Ø"/>
              </a:pPr>
              <a:r>
                <a:rPr lang="zh-CN" altLang="en-US" sz="2200" dirty="0"/>
                <a:t>既采用直接寻址方式，又采用单级和多级索引组织方式（间接寻址方式）</a:t>
              </a:r>
            </a:p>
          </p:txBody>
        </p:sp>
      </p:grp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混合索引方式</a:t>
            </a:r>
            <a:r>
              <a:rPr lang="en-US" altLang="zh-CN" sz="2800" b="1" dirty="0">
                <a:solidFill>
                  <a:schemeClr val="bg1"/>
                </a:solidFill>
              </a:rPr>
              <a:t>(UNIX </a:t>
            </a:r>
            <a:r>
              <a:rPr lang="en-US" altLang="zh-CN" sz="2800" b="1" dirty="0" err="1">
                <a:solidFill>
                  <a:schemeClr val="bg1"/>
                </a:solidFill>
              </a:rPr>
              <a:t>iNode</a:t>
            </a:r>
            <a:r>
              <a:rPr lang="en-US" altLang="zh-CN" sz="2800" b="1" dirty="0">
                <a:solidFill>
                  <a:schemeClr val="bg1"/>
                </a:solidFill>
              </a:rPr>
              <a:t>)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pic>
        <p:nvPicPr>
          <p:cNvPr id="14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86" t="948" r="4706" b="948"/>
          <a:stretch>
            <a:fillRect/>
          </a:stretch>
        </p:blipFill>
        <p:spPr bwMode="auto">
          <a:xfrm>
            <a:off x="1831760" y="1125243"/>
            <a:ext cx="8279906" cy="5032320"/>
          </a:xfrm>
          <a:prstGeom prst="rect">
            <a:avLst/>
          </a:prstGeom>
          <a:noFill/>
          <a:ln w="38100" cmpd="dbl">
            <a:solidFill>
              <a:srgbClr val="CC66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2" name="矩形 21"/>
          <p:cNvSpPr/>
          <p:nvPr/>
        </p:nvSpPr>
        <p:spPr>
          <a:xfrm>
            <a:off x="1696469" y="1476238"/>
            <a:ext cx="45001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  <a:ea typeface="+mj-ea"/>
              </a:rPr>
              <a:t>9.1 </a:t>
            </a:r>
            <a:r>
              <a:rPr lang="zh-CN" altLang="en-US" sz="2400" dirty="0">
                <a:latin typeface="+mj-ea"/>
                <a:ea typeface="+mj-ea"/>
              </a:rPr>
              <a:t>外存的组织方式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9" y="2114413"/>
            <a:ext cx="36821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9.1.1 </a:t>
            </a:r>
            <a:r>
              <a:rPr lang="zh-CN" altLang="en-US" sz="2400" dirty="0">
                <a:latin typeface="+mj-ea"/>
              </a:rPr>
              <a:t>连续组织方式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1696468" y="2733538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9.1.2 </a:t>
            </a:r>
            <a:r>
              <a:rPr lang="zh-CN" altLang="en-US" sz="2400" dirty="0">
                <a:latin typeface="+mj-ea"/>
              </a:rPr>
              <a:t>链接组织方式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1696468" y="3352663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9.1.1 </a:t>
            </a:r>
            <a:r>
              <a:rPr lang="zh-CN" altLang="en-US" sz="2400" dirty="0">
                <a:latin typeface="+mj-ea"/>
              </a:rPr>
              <a:t>索引组织方式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7" name="矩形 26"/>
          <p:cNvSpPr/>
          <p:nvPr/>
        </p:nvSpPr>
        <p:spPr>
          <a:xfrm>
            <a:off x="1696469" y="3971788"/>
            <a:ext cx="547877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0000FF"/>
                </a:solidFill>
                <a:latin typeface="+mj-ea"/>
              </a:rPr>
              <a:t>9.2 </a:t>
            </a:r>
            <a:r>
              <a:rPr lang="zh-CN" altLang="en-US" sz="2400" b="1" dirty="0">
                <a:solidFill>
                  <a:srgbClr val="0000FF"/>
                </a:solidFill>
                <a:latin typeface="+mj-ea"/>
              </a:rPr>
              <a:t>文件存储空间的管理</a:t>
            </a:r>
          </a:p>
        </p:txBody>
      </p:sp>
      <p:sp>
        <p:nvSpPr>
          <p:cNvPr id="28" name="矩形 27"/>
          <p:cNvSpPr/>
          <p:nvPr/>
        </p:nvSpPr>
        <p:spPr>
          <a:xfrm>
            <a:off x="1696468" y="4590913"/>
            <a:ext cx="476964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7.8 </a:t>
            </a:r>
            <a:r>
              <a:rPr lang="zh-CN" altLang="en-US" sz="2400" dirty="0">
                <a:latin typeface="+mj-ea"/>
              </a:rPr>
              <a:t>磁盘性能概述和磁盘调度</a:t>
            </a:r>
          </a:p>
        </p:txBody>
      </p:sp>
      <p:sp>
        <p:nvSpPr>
          <p:cNvPr id="3" name="矩形 2"/>
          <p:cNvSpPr/>
          <p:nvPr/>
        </p:nvSpPr>
        <p:spPr>
          <a:xfrm>
            <a:off x="6466113" y="2386337"/>
            <a:ext cx="519169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9</a:t>
            </a:r>
            <a:r>
              <a:rPr lang="zh-CN" altLang="en-US" sz="3600" dirty="0">
                <a:solidFill>
                  <a:srgbClr val="000000"/>
                </a:solidFill>
              </a:rPr>
              <a:t>章    磁盘存储器管理</a:t>
            </a:r>
            <a:endParaRPr lang="zh-CN" altLang="en-US" sz="3600" dirty="0"/>
          </a:p>
        </p:txBody>
      </p:sp>
      <p:cxnSp>
        <p:nvCxnSpPr>
          <p:cNvPr id="5" name="直接连接符 4"/>
          <p:cNvCxnSpPr/>
          <p:nvPr/>
        </p:nvCxnSpPr>
        <p:spPr>
          <a:xfrm>
            <a:off x="6640497" y="3190471"/>
            <a:ext cx="490662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43922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02436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679837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29831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2" name="图片 4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92439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3" name="图片 4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56210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第9章 知识导图"/>
          <p:cNvPicPr>
            <a:picLocks noChangeAspect="1"/>
          </p:cNvPicPr>
          <p:nvPr/>
        </p:nvPicPr>
        <p:blipFill>
          <a:blip r:embed="rId3"/>
          <a:srcRect b="1580"/>
          <a:stretch>
            <a:fillRect/>
          </a:stretch>
        </p:blipFill>
        <p:spPr>
          <a:xfrm>
            <a:off x="4864735" y="828675"/>
            <a:ext cx="6333490" cy="5973445"/>
          </a:xfrm>
          <a:prstGeom prst="rect">
            <a:avLst/>
          </a:prstGeom>
        </p:spPr>
      </p:pic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253947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第</a:t>
            </a:r>
            <a:r>
              <a:rPr lang="en-US" altLang="zh-CN" sz="2800" b="1" dirty="0">
                <a:solidFill>
                  <a:schemeClr val="bg1"/>
                </a:solidFill>
              </a:rPr>
              <a:t>9</a:t>
            </a:r>
            <a:r>
              <a:rPr lang="zh-CN" altLang="en-US" sz="2800" b="1" dirty="0">
                <a:solidFill>
                  <a:schemeClr val="bg1"/>
                </a:solidFill>
              </a:rPr>
              <a:t>章知识导图</a:t>
            </a:r>
          </a:p>
        </p:txBody>
      </p:sp>
      <p:graphicFrame>
        <p:nvGraphicFramePr>
          <p:cNvPr id="30" name="表格 29"/>
          <p:cNvGraphicFramePr/>
          <p:nvPr>
            <p:custDataLst>
              <p:tags r:id="rId1"/>
            </p:custDataLst>
          </p:nvPr>
        </p:nvGraphicFramePr>
        <p:xfrm>
          <a:off x="462431" y="1634204"/>
          <a:ext cx="4173963" cy="4789452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22103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529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99121">
                <a:tc>
                  <a:txBody>
                    <a:bodyPr/>
                    <a:lstStyle/>
                    <a:p>
                      <a:pPr marL="71755" indent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0" kern="1200" dirty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第1章</a:t>
                      </a:r>
                      <a:endParaRPr lang="en-US" altLang="en-US" sz="2000" b="0" kern="1200" dirty="0">
                        <a:solidFill>
                          <a:schemeClr val="tx1"/>
                        </a:solidFill>
                        <a:latin typeface="微软雅黑 (正文)"/>
                        <a:ea typeface="+mn-ea"/>
                        <a:cs typeface="+mn-cs"/>
                      </a:endParaRPr>
                    </a:p>
                  </a:txBody>
                  <a:tcPr marL="98738" marR="98738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0" kern="1200" dirty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000" b="0" kern="1200" dirty="0" err="1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操作系统引论</a:t>
                      </a:r>
                      <a:endParaRPr lang="en-US" altLang="en-US" sz="2000" b="0" kern="1200" dirty="0">
                        <a:solidFill>
                          <a:schemeClr val="tx1"/>
                        </a:solidFill>
                        <a:latin typeface="微软雅黑 (正文)"/>
                        <a:ea typeface="+mn-ea"/>
                        <a:cs typeface="+mn-cs"/>
                      </a:endParaRPr>
                    </a:p>
                  </a:txBody>
                  <a:tcPr marL="98738" marR="98738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2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 err="1">
                          <a:latin typeface="微软雅黑 (正文)"/>
                        </a:rPr>
                        <a:t>进程的描述与控制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0" dirty="0">
                          <a:solidFill>
                            <a:schemeClr val="tx1"/>
                          </a:solidFill>
                          <a:latin typeface="微软雅黑 (正文)"/>
                        </a:rPr>
                        <a:t>第3章</a:t>
                      </a:r>
                      <a:endParaRPr lang="en-US" altLang="en-US" sz="2000" b="0" dirty="0">
                        <a:solidFill>
                          <a:schemeClr val="tx1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0" dirty="0" err="1">
                          <a:solidFill>
                            <a:schemeClr val="tx1"/>
                          </a:solidFill>
                          <a:latin typeface="微软雅黑 (正文)"/>
                        </a:rPr>
                        <a:t>处理机调度与死锁</a:t>
                      </a:r>
                      <a:endParaRPr lang="en-US" altLang="en-US" sz="2000" b="0" dirty="0">
                        <a:solidFill>
                          <a:schemeClr val="tx1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4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 err="1">
                          <a:latin typeface="微软雅黑 (正文)"/>
                        </a:rPr>
                        <a:t>进程同步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5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存储器管理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6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虚拟存储器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7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 err="1">
                          <a:latin typeface="微软雅黑 (正文)"/>
                        </a:rPr>
                        <a:t>输入</a:t>
                      </a:r>
                      <a:r>
                        <a:rPr lang="en-US" sz="2000" dirty="0">
                          <a:latin typeface="微软雅黑 (正文)"/>
                        </a:rPr>
                        <a:t>/</a:t>
                      </a:r>
                      <a:r>
                        <a:rPr lang="en-US" sz="2000" dirty="0" err="1">
                          <a:latin typeface="微软雅黑 (正文)"/>
                        </a:rPr>
                        <a:t>输出系统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8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文件管理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微软雅黑 (正文)"/>
                        </a:rPr>
                        <a:t>第9章</a:t>
                      </a:r>
                      <a:endParaRPr lang="en-US" altLang="en-US" sz="2000" b="1" dirty="0">
                        <a:solidFill>
                          <a:schemeClr val="bg1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1" dirty="0" err="1">
                          <a:solidFill>
                            <a:schemeClr val="bg1"/>
                          </a:solidFill>
                          <a:latin typeface="微软雅黑 (正文)"/>
                        </a:rPr>
                        <a:t>磁盘存储器管理</a:t>
                      </a:r>
                      <a:endParaRPr lang="en-US" altLang="en-US" sz="2000" b="1" dirty="0">
                        <a:solidFill>
                          <a:schemeClr val="bg1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10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 err="1">
                          <a:latin typeface="微软雅黑 (正文)"/>
                        </a:rPr>
                        <a:t>多处理机操作系统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11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虚拟化和云计算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12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 err="1">
                          <a:latin typeface="微软雅黑 (正文)"/>
                        </a:rPr>
                        <a:t>保护和安全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8" name="任意多边形: 形状 7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3" name="矩形 2">
            <a:extLst>
              <a:ext uri="{FF2B5EF4-FFF2-40B4-BE49-F238E27FC236}">
                <a16:creationId xmlns:a16="http://schemas.microsoft.com/office/drawing/2014/main" id="{8AD0C688-EFEA-4937-C83D-D5171F86B426}"/>
              </a:ext>
            </a:extLst>
          </p:cNvPr>
          <p:cNvSpPr/>
          <p:nvPr/>
        </p:nvSpPr>
        <p:spPr>
          <a:xfrm>
            <a:off x="6323057" y="1118622"/>
            <a:ext cx="1834276" cy="1982113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9.2 </a:t>
            </a:r>
            <a:r>
              <a:rPr lang="zh-CN" altLang="en-US" sz="2800" b="1" dirty="0">
                <a:solidFill>
                  <a:schemeClr val="bg1"/>
                </a:solidFill>
              </a:rPr>
              <a:t>文件存储空间管理</a:t>
            </a:r>
          </a:p>
        </p:txBody>
      </p:sp>
      <p:sp>
        <p:nvSpPr>
          <p:cNvPr id="4" name="íšḻíḑê"/>
          <p:cNvSpPr/>
          <p:nvPr/>
        </p:nvSpPr>
        <p:spPr>
          <a:xfrm>
            <a:off x="669925" y="1340152"/>
            <a:ext cx="7927445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pPr marL="457200" indent="-457200">
              <a:buClr>
                <a:srgbClr val="FFC000"/>
              </a:buClr>
              <a:buFont typeface="Wingdings" panose="05000000000000000000" pitchFamily="2" charset="2"/>
              <a:buChar char="p"/>
            </a:pPr>
            <a:r>
              <a:rPr lang="zh-CN" altLang="en-US" sz="2600" dirty="0"/>
              <a:t>文件存储空间的</a:t>
            </a:r>
            <a:r>
              <a:rPr lang="zh-CN" altLang="en-US" sz="2600" dirty="0">
                <a:solidFill>
                  <a:srgbClr val="0000FF"/>
                </a:solidFill>
              </a:rPr>
              <a:t>基本分配单位</a:t>
            </a:r>
            <a:r>
              <a:rPr lang="zh-CN" altLang="en-US" sz="2600" dirty="0"/>
              <a:t>是</a:t>
            </a:r>
            <a:r>
              <a:rPr lang="zh-CN" altLang="en-US" sz="2600" u="sng" dirty="0">
                <a:solidFill>
                  <a:srgbClr val="FF0000"/>
                </a:solidFill>
              </a:rPr>
              <a:t>盘块</a:t>
            </a:r>
            <a:r>
              <a:rPr lang="zh-CN" altLang="en-US" sz="2600" dirty="0"/>
              <a:t>（</a:t>
            </a:r>
            <a:r>
              <a:rPr lang="en-US" altLang="zh-CN" sz="2600" dirty="0"/>
              <a:t>block</a:t>
            </a:r>
            <a:r>
              <a:rPr lang="zh-CN" altLang="en-US" sz="2600" dirty="0"/>
              <a:t>）</a:t>
            </a:r>
            <a:endParaRPr lang="en-US" altLang="zh-CN" sz="2600" dirty="0"/>
          </a:p>
        </p:txBody>
      </p:sp>
      <p:sp>
        <p:nvSpPr>
          <p:cNvPr id="9" name="文本框 8"/>
          <p:cNvSpPr txBox="1"/>
          <p:nvPr/>
        </p:nvSpPr>
        <p:spPr>
          <a:xfrm>
            <a:off x="669925" y="1855741"/>
            <a:ext cx="672039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Clr>
                <a:srgbClr val="FFC000"/>
              </a:buClr>
              <a:buFont typeface="Wingdings" panose="05000000000000000000" pitchFamily="2" charset="2"/>
              <a:buChar char="p"/>
              <a:defRPr/>
            </a:pPr>
            <a:r>
              <a:rPr lang="zh-CN" altLang="en-US" sz="2400" dirty="0"/>
              <a:t> 常用的管理方法</a:t>
            </a:r>
          </a:p>
        </p:txBody>
      </p:sp>
      <p:grpSp>
        <p:nvGrpSpPr>
          <p:cNvPr id="10" name="21764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593027" y="2644405"/>
            <a:ext cx="11165744" cy="2990354"/>
            <a:chOff x="516303" y="1929384"/>
            <a:chExt cx="11165744" cy="2990354"/>
          </a:xfrm>
        </p:grpSpPr>
        <p:sp>
          <p:nvSpPr>
            <p:cNvPr id="11" name="ïsḷîḋê"/>
            <p:cNvSpPr/>
            <p:nvPr/>
          </p:nvSpPr>
          <p:spPr>
            <a:xfrm>
              <a:off x="673100" y="1929384"/>
              <a:ext cx="10845800" cy="2125980"/>
            </a:xfrm>
            <a:prstGeom prst="rightArrow">
              <a:avLst>
                <a:gd name="adj1" fmla="val 50000"/>
                <a:gd name="adj2" fmla="val 42258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2" name="ïṩḻíḑe"/>
            <p:cNvSpPr/>
            <p:nvPr/>
          </p:nvSpPr>
          <p:spPr>
            <a:xfrm rot="2700000">
              <a:off x="1148317" y="2189617"/>
              <a:ext cx="1605516" cy="1605516"/>
            </a:xfrm>
            <a:custGeom>
              <a:avLst/>
              <a:gdLst>
                <a:gd name="connsiteX0" fmla="*/ 135628 w 1605516"/>
                <a:gd name="connsiteY0" fmla="*/ 135628 h 1605516"/>
                <a:gd name="connsiteX1" fmla="*/ 463063 w 1605516"/>
                <a:gd name="connsiteY1" fmla="*/ 0 h 1605516"/>
                <a:gd name="connsiteX2" fmla="*/ 1142453 w 1605516"/>
                <a:gd name="connsiteY2" fmla="*/ 0 h 1605516"/>
                <a:gd name="connsiteX3" fmla="*/ 1605516 w 1605516"/>
                <a:gd name="connsiteY3" fmla="*/ 463063 h 1605516"/>
                <a:gd name="connsiteX4" fmla="*/ 1605516 w 1605516"/>
                <a:gd name="connsiteY4" fmla="*/ 1142453 h 1605516"/>
                <a:gd name="connsiteX5" fmla="*/ 1142453 w 1605516"/>
                <a:gd name="connsiteY5" fmla="*/ 1605516 h 1605516"/>
                <a:gd name="connsiteX6" fmla="*/ 463063 w 1605516"/>
                <a:gd name="connsiteY6" fmla="*/ 1605516 h 1605516"/>
                <a:gd name="connsiteX7" fmla="*/ 282818 w 1605516"/>
                <a:gd name="connsiteY7" fmla="*/ 1569126 h 1605516"/>
                <a:gd name="connsiteX8" fmla="*/ 247355 w 1605516"/>
                <a:gd name="connsiteY8" fmla="*/ 1549878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637 w 1605516"/>
                <a:gd name="connsiteY14" fmla="*/ 1358159 h 1605516"/>
                <a:gd name="connsiteX15" fmla="*/ 36390 w 1605516"/>
                <a:gd name="connsiteY15" fmla="*/ 1322698 h 1605516"/>
                <a:gd name="connsiteX16" fmla="*/ 0 w 1605516"/>
                <a:gd name="connsiteY16" fmla="*/ 1142453 h 1605516"/>
                <a:gd name="connsiteX17" fmla="*/ 0 w 1605516"/>
                <a:gd name="connsiteY17" fmla="*/ 463063 h 1605516"/>
                <a:gd name="connsiteX18" fmla="*/ 135628 w 1605516"/>
                <a:gd name="connsiteY18" fmla="*/ 135628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628" y="135628"/>
                  </a:moveTo>
                  <a:cubicBezTo>
                    <a:pt x="219426" y="51830"/>
                    <a:pt x="335192" y="0"/>
                    <a:pt x="463063" y="0"/>
                  </a:cubicBezTo>
                  <a:lnTo>
                    <a:pt x="1142453" y="0"/>
                  </a:lnTo>
                  <a:cubicBezTo>
                    <a:pt x="1398196" y="0"/>
                    <a:pt x="1605516" y="207320"/>
                    <a:pt x="1605516" y="463063"/>
                  </a:cubicBezTo>
                  <a:lnTo>
                    <a:pt x="1605516" y="1142453"/>
                  </a:lnTo>
                  <a:cubicBezTo>
                    <a:pt x="1605516" y="1398196"/>
                    <a:pt x="1398196" y="1605516"/>
                    <a:pt x="1142453" y="1605516"/>
                  </a:cubicBezTo>
                  <a:lnTo>
                    <a:pt x="463063" y="1605516"/>
                  </a:lnTo>
                  <a:cubicBezTo>
                    <a:pt x="399127" y="1605516"/>
                    <a:pt x="338218" y="1592559"/>
                    <a:pt x="282818" y="1569126"/>
                  </a:cubicBezTo>
                  <a:lnTo>
                    <a:pt x="247355" y="1549878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637" y="1358159"/>
                  </a:lnTo>
                  <a:lnTo>
                    <a:pt x="36390" y="1322698"/>
                  </a:lnTo>
                  <a:cubicBezTo>
                    <a:pt x="12957" y="1267298"/>
                    <a:pt x="0" y="1206389"/>
                    <a:pt x="0" y="1142453"/>
                  </a:cubicBezTo>
                  <a:lnTo>
                    <a:pt x="0" y="463063"/>
                  </a:lnTo>
                  <a:cubicBezTo>
                    <a:pt x="0" y="335192"/>
                    <a:pt x="51830" y="219426"/>
                    <a:pt x="135628" y="135628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13" name="is1íḑe"/>
            <p:cNvSpPr/>
            <p:nvPr/>
          </p:nvSpPr>
          <p:spPr>
            <a:xfrm rot="2700000">
              <a:off x="3911600" y="2189617"/>
              <a:ext cx="1605516" cy="1605516"/>
            </a:xfrm>
            <a:custGeom>
              <a:avLst/>
              <a:gdLst>
                <a:gd name="connsiteX0" fmla="*/ 135459 w 1605516"/>
                <a:gd name="connsiteY0" fmla="*/ 135459 h 1605516"/>
                <a:gd name="connsiteX1" fmla="*/ 462485 w 1605516"/>
                <a:gd name="connsiteY1" fmla="*/ 0 h 1605516"/>
                <a:gd name="connsiteX2" fmla="*/ 1143031 w 1605516"/>
                <a:gd name="connsiteY2" fmla="*/ 0 h 1605516"/>
                <a:gd name="connsiteX3" fmla="*/ 1605516 w 1605516"/>
                <a:gd name="connsiteY3" fmla="*/ 462485 h 1605516"/>
                <a:gd name="connsiteX4" fmla="*/ 1605516 w 1605516"/>
                <a:gd name="connsiteY4" fmla="*/ 1143031 h 1605516"/>
                <a:gd name="connsiteX5" fmla="*/ 1143031 w 1605516"/>
                <a:gd name="connsiteY5" fmla="*/ 1605516 h 1605516"/>
                <a:gd name="connsiteX6" fmla="*/ 462485 w 1605516"/>
                <a:gd name="connsiteY6" fmla="*/ 1605516 h 1605516"/>
                <a:gd name="connsiteX7" fmla="*/ 282465 w 1605516"/>
                <a:gd name="connsiteY7" fmla="*/ 1569172 h 1605516"/>
                <a:gd name="connsiteX8" fmla="*/ 247202 w 1605516"/>
                <a:gd name="connsiteY8" fmla="*/ 1550031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484 w 1605516"/>
                <a:gd name="connsiteY14" fmla="*/ 1358313 h 1605516"/>
                <a:gd name="connsiteX15" fmla="*/ 36345 w 1605516"/>
                <a:gd name="connsiteY15" fmla="*/ 1323051 h 1605516"/>
                <a:gd name="connsiteX16" fmla="*/ 0 w 1605516"/>
                <a:gd name="connsiteY16" fmla="*/ 1143031 h 1605516"/>
                <a:gd name="connsiteX17" fmla="*/ 0 w 1605516"/>
                <a:gd name="connsiteY17" fmla="*/ 462485 h 1605516"/>
                <a:gd name="connsiteX18" fmla="*/ 135459 w 1605516"/>
                <a:gd name="connsiteY18" fmla="*/ 135459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59" y="135459"/>
                  </a:moveTo>
                  <a:cubicBezTo>
                    <a:pt x="219152" y="51765"/>
                    <a:pt x="334773" y="0"/>
                    <a:pt x="462485" y="0"/>
                  </a:cubicBezTo>
                  <a:lnTo>
                    <a:pt x="1143031" y="0"/>
                  </a:lnTo>
                  <a:cubicBezTo>
                    <a:pt x="1398454" y="0"/>
                    <a:pt x="1605516" y="207062"/>
                    <a:pt x="1605516" y="462485"/>
                  </a:cubicBezTo>
                  <a:lnTo>
                    <a:pt x="1605516" y="1143031"/>
                  </a:lnTo>
                  <a:cubicBezTo>
                    <a:pt x="1605516" y="1398454"/>
                    <a:pt x="1398454" y="1605516"/>
                    <a:pt x="1143031" y="1605516"/>
                  </a:cubicBezTo>
                  <a:lnTo>
                    <a:pt x="462485" y="1605516"/>
                  </a:lnTo>
                  <a:cubicBezTo>
                    <a:pt x="398629" y="1605516"/>
                    <a:pt x="337796" y="1592575"/>
                    <a:pt x="282465" y="1569172"/>
                  </a:cubicBezTo>
                  <a:lnTo>
                    <a:pt x="247202" y="1550031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484" y="1358313"/>
                  </a:lnTo>
                  <a:lnTo>
                    <a:pt x="36345" y="1323051"/>
                  </a:lnTo>
                  <a:cubicBezTo>
                    <a:pt x="12941" y="1267720"/>
                    <a:pt x="0" y="1206887"/>
                    <a:pt x="0" y="1143031"/>
                  </a:cubicBezTo>
                  <a:lnTo>
                    <a:pt x="0" y="462485"/>
                  </a:lnTo>
                  <a:cubicBezTo>
                    <a:pt x="0" y="334773"/>
                    <a:pt x="51765" y="219152"/>
                    <a:pt x="135459" y="13545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5" name="íṡ1ïḋé"/>
            <p:cNvSpPr/>
            <p:nvPr/>
          </p:nvSpPr>
          <p:spPr>
            <a:xfrm rot="2700000">
              <a:off x="6674883" y="2189617"/>
              <a:ext cx="1605516" cy="1605516"/>
            </a:xfrm>
            <a:custGeom>
              <a:avLst/>
              <a:gdLst>
                <a:gd name="connsiteX0" fmla="*/ 135431 w 1605516"/>
                <a:gd name="connsiteY0" fmla="*/ 135431 h 1605516"/>
                <a:gd name="connsiteX1" fmla="*/ 462389 w 1605516"/>
                <a:gd name="connsiteY1" fmla="*/ 0 h 1605516"/>
                <a:gd name="connsiteX2" fmla="*/ 1143127 w 1605516"/>
                <a:gd name="connsiteY2" fmla="*/ 0 h 1605516"/>
                <a:gd name="connsiteX3" fmla="*/ 1605516 w 1605516"/>
                <a:gd name="connsiteY3" fmla="*/ 462389 h 1605516"/>
                <a:gd name="connsiteX4" fmla="*/ 1605516 w 1605516"/>
                <a:gd name="connsiteY4" fmla="*/ 1143127 h 1605516"/>
                <a:gd name="connsiteX5" fmla="*/ 1143127 w 1605516"/>
                <a:gd name="connsiteY5" fmla="*/ 1605516 h 1605516"/>
                <a:gd name="connsiteX6" fmla="*/ 462389 w 1605516"/>
                <a:gd name="connsiteY6" fmla="*/ 1605516 h 1605516"/>
                <a:gd name="connsiteX7" fmla="*/ 282407 w 1605516"/>
                <a:gd name="connsiteY7" fmla="*/ 1569179 h 1605516"/>
                <a:gd name="connsiteX8" fmla="*/ 247177 w 1605516"/>
                <a:gd name="connsiteY8" fmla="*/ 1550057 h 1605516"/>
                <a:gd name="connsiteX9" fmla="*/ 706899 w 1605516"/>
                <a:gd name="connsiteY9" fmla="*/ 1090335 h 1605516"/>
                <a:gd name="connsiteX10" fmla="*/ 802758 w 1605516"/>
                <a:gd name="connsiteY10" fmla="*/ 1186194 h 1605516"/>
                <a:gd name="connsiteX11" fmla="*/ 802758 w 1605516"/>
                <a:gd name="connsiteY11" fmla="*/ 802758 h 1605516"/>
                <a:gd name="connsiteX12" fmla="*/ 419322 w 1605516"/>
                <a:gd name="connsiteY12" fmla="*/ 802758 h 1605516"/>
                <a:gd name="connsiteX13" fmla="*/ 515181 w 1605516"/>
                <a:gd name="connsiteY13" fmla="*/ 898617 h 1605516"/>
                <a:gd name="connsiteX14" fmla="*/ 55459 w 1605516"/>
                <a:gd name="connsiteY14" fmla="*/ 1358339 h 1605516"/>
                <a:gd name="connsiteX15" fmla="*/ 36337 w 1605516"/>
                <a:gd name="connsiteY15" fmla="*/ 1323109 h 1605516"/>
                <a:gd name="connsiteX16" fmla="*/ 0 w 1605516"/>
                <a:gd name="connsiteY16" fmla="*/ 1143127 h 1605516"/>
                <a:gd name="connsiteX17" fmla="*/ 0 w 1605516"/>
                <a:gd name="connsiteY17" fmla="*/ 462389 h 1605516"/>
                <a:gd name="connsiteX18" fmla="*/ 135431 w 1605516"/>
                <a:gd name="connsiteY18" fmla="*/ 135431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31" y="135431"/>
                  </a:moveTo>
                  <a:cubicBezTo>
                    <a:pt x="219107" y="51755"/>
                    <a:pt x="334704" y="0"/>
                    <a:pt x="462389" y="0"/>
                  </a:cubicBezTo>
                  <a:lnTo>
                    <a:pt x="1143127" y="0"/>
                  </a:lnTo>
                  <a:cubicBezTo>
                    <a:pt x="1398497" y="0"/>
                    <a:pt x="1605516" y="207019"/>
                    <a:pt x="1605516" y="462389"/>
                  </a:cubicBezTo>
                  <a:lnTo>
                    <a:pt x="1605516" y="1143127"/>
                  </a:lnTo>
                  <a:cubicBezTo>
                    <a:pt x="1605516" y="1398497"/>
                    <a:pt x="1398497" y="1605516"/>
                    <a:pt x="1143127" y="1605516"/>
                  </a:cubicBezTo>
                  <a:lnTo>
                    <a:pt x="462389" y="1605516"/>
                  </a:lnTo>
                  <a:cubicBezTo>
                    <a:pt x="398546" y="1605516"/>
                    <a:pt x="337726" y="1592577"/>
                    <a:pt x="282407" y="1569179"/>
                  </a:cubicBezTo>
                  <a:lnTo>
                    <a:pt x="247177" y="1550057"/>
                  </a:lnTo>
                  <a:lnTo>
                    <a:pt x="706899" y="1090335"/>
                  </a:lnTo>
                  <a:lnTo>
                    <a:pt x="802758" y="1186194"/>
                  </a:lnTo>
                  <a:lnTo>
                    <a:pt x="802758" y="802758"/>
                  </a:lnTo>
                  <a:lnTo>
                    <a:pt x="419322" y="802758"/>
                  </a:lnTo>
                  <a:lnTo>
                    <a:pt x="515181" y="898617"/>
                  </a:lnTo>
                  <a:lnTo>
                    <a:pt x="55459" y="1358339"/>
                  </a:lnTo>
                  <a:lnTo>
                    <a:pt x="36337" y="1323109"/>
                  </a:lnTo>
                  <a:cubicBezTo>
                    <a:pt x="12939" y="1267790"/>
                    <a:pt x="0" y="1206970"/>
                    <a:pt x="0" y="1143127"/>
                  </a:cubicBezTo>
                  <a:lnTo>
                    <a:pt x="0" y="462389"/>
                  </a:lnTo>
                  <a:cubicBezTo>
                    <a:pt x="0" y="334704"/>
                    <a:pt x="51755" y="219107"/>
                    <a:pt x="135431" y="135431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16" name="îṡlíḓè"/>
            <p:cNvSpPr/>
            <p:nvPr/>
          </p:nvSpPr>
          <p:spPr>
            <a:xfrm rot="2700000">
              <a:off x="9438167" y="2189617"/>
              <a:ext cx="1605516" cy="1605516"/>
            </a:xfrm>
            <a:custGeom>
              <a:avLst/>
              <a:gdLst>
                <a:gd name="connsiteX0" fmla="*/ 135431 w 1605516"/>
                <a:gd name="connsiteY0" fmla="*/ 135431 h 1605516"/>
                <a:gd name="connsiteX1" fmla="*/ 462389 w 1605516"/>
                <a:gd name="connsiteY1" fmla="*/ 0 h 1605516"/>
                <a:gd name="connsiteX2" fmla="*/ 1143127 w 1605516"/>
                <a:gd name="connsiteY2" fmla="*/ 0 h 1605516"/>
                <a:gd name="connsiteX3" fmla="*/ 1605516 w 1605516"/>
                <a:gd name="connsiteY3" fmla="*/ 462389 h 1605516"/>
                <a:gd name="connsiteX4" fmla="*/ 1605516 w 1605516"/>
                <a:gd name="connsiteY4" fmla="*/ 1143127 h 1605516"/>
                <a:gd name="connsiteX5" fmla="*/ 1143127 w 1605516"/>
                <a:gd name="connsiteY5" fmla="*/ 1605516 h 1605516"/>
                <a:gd name="connsiteX6" fmla="*/ 462389 w 1605516"/>
                <a:gd name="connsiteY6" fmla="*/ 1605516 h 1605516"/>
                <a:gd name="connsiteX7" fmla="*/ 282406 w 1605516"/>
                <a:gd name="connsiteY7" fmla="*/ 1569179 h 1605516"/>
                <a:gd name="connsiteX8" fmla="*/ 247176 w 1605516"/>
                <a:gd name="connsiteY8" fmla="*/ 1550057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459 w 1605516"/>
                <a:gd name="connsiteY14" fmla="*/ 1358338 h 1605516"/>
                <a:gd name="connsiteX15" fmla="*/ 36337 w 1605516"/>
                <a:gd name="connsiteY15" fmla="*/ 1323110 h 1605516"/>
                <a:gd name="connsiteX16" fmla="*/ 0 w 1605516"/>
                <a:gd name="connsiteY16" fmla="*/ 1143127 h 1605516"/>
                <a:gd name="connsiteX17" fmla="*/ 0 w 1605516"/>
                <a:gd name="connsiteY17" fmla="*/ 462389 h 1605516"/>
                <a:gd name="connsiteX18" fmla="*/ 135431 w 1605516"/>
                <a:gd name="connsiteY18" fmla="*/ 135431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31" y="135431"/>
                  </a:moveTo>
                  <a:cubicBezTo>
                    <a:pt x="219107" y="51755"/>
                    <a:pt x="334704" y="0"/>
                    <a:pt x="462389" y="0"/>
                  </a:cubicBezTo>
                  <a:lnTo>
                    <a:pt x="1143127" y="0"/>
                  </a:lnTo>
                  <a:cubicBezTo>
                    <a:pt x="1398497" y="0"/>
                    <a:pt x="1605516" y="207019"/>
                    <a:pt x="1605516" y="462389"/>
                  </a:cubicBezTo>
                  <a:lnTo>
                    <a:pt x="1605516" y="1143127"/>
                  </a:lnTo>
                  <a:cubicBezTo>
                    <a:pt x="1605516" y="1398497"/>
                    <a:pt x="1398497" y="1605516"/>
                    <a:pt x="1143127" y="1605516"/>
                  </a:cubicBezTo>
                  <a:lnTo>
                    <a:pt x="462389" y="1605516"/>
                  </a:lnTo>
                  <a:cubicBezTo>
                    <a:pt x="398547" y="1605516"/>
                    <a:pt x="337726" y="1592577"/>
                    <a:pt x="282406" y="1569179"/>
                  </a:cubicBezTo>
                  <a:lnTo>
                    <a:pt x="247176" y="1550057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459" y="1358338"/>
                  </a:lnTo>
                  <a:lnTo>
                    <a:pt x="36337" y="1323110"/>
                  </a:lnTo>
                  <a:cubicBezTo>
                    <a:pt x="12939" y="1267790"/>
                    <a:pt x="0" y="1206969"/>
                    <a:pt x="0" y="1143127"/>
                  </a:cubicBezTo>
                  <a:lnTo>
                    <a:pt x="0" y="462389"/>
                  </a:lnTo>
                  <a:cubicBezTo>
                    <a:pt x="0" y="334704"/>
                    <a:pt x="51755" y="219107"/>
                    <a:pt x="135431" y="13543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17" name="isľîdê"/>
            <p:cNvSpPr txBox="1"/>
            <p:nvPr/>
          </p:nvSpPr>
          <p:spPr>
            <a:xfrm>
              <a:off x="516303" y="4160181"/>
              <a:ext cx="2558641" cy="523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lvl="1"/>
              <a:r>
                <a:rPr lang="zh-CN" altLang="en-US" sz="2400" dirty="0"/>
                <a:t>空闲区表法</a:t>
              </a:r>
              <a:endParaRPr lang="en-US" altLang="zh-CN" sz="2400" dirty="0"/>
            </a:p>
          </p:txBody>
        </p:sp>
        <p:sp>
          <p:nvSpPr>
            <p:cNvPr id="18" name="îṣḻidé"/>
            <p:cNvSpPr txBox="1"/>
            <p:nvPr/>
          </p:nvSpPr>
          <p:spPr>
            <a:xfrm>
              <a:off x="1960664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19" name="ïŝ1ïḋè"/>
            <p:cNvSpPr txBox="1"/>
            <p:nvPr/>
          </p:nvSpPr>
          <p:spPr>
            <a:xfrm>
              <a:off x="4741597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21" name="í$lîdé"/>
            <p:cNvSpPr txBox="1"/>
            <p:nvPr/>
          </p:nvSpPr>
          <p:spPr>
            <a:xfrm>
              <a:off x="7522530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22" name="išḻïďè"/>
            <p:cNvSpPr txBox="1"/>
            <p:nvPr/>
          </p:nvSpPr>
          <p:spPr>
            <a:xfrm>
              <a:off x="10303464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23" name="isľîdê"/>
            <p:cNvSpPr txBox="1"/>
            <p:nvPr/>
          </p:nvSpPr>
          <p:spPr>
            <a:xfrm>
              <a:off x="3316860" y="4160181"/>
              <a:ext cx="2606348" cy="5376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0" lvl="1" algn="ctr">
                <a:lnSpc>
                  <a:spcPct val="120000"/>
                </a:lnSpc>
                <a:buClr>
                  <a:srgbClr val="FFC000"/>
                </a:buClr>
              </a:pPr>
              <a:r>
                <a:rPr lang="zh-CN" altLang="en-US" sz="2400" dirty="0"/>
                <a:t>空闲链表法</a:t>
              </a:r>
            </a:p>
          </p:txBody>
        </p:sp>
        <p:sp>
          <p:nvSpPr>
            <p:cNvPr id="24" name="isľîdê"/>
            <p:cNvSpPr txBox="1"/>
            <p:nvPr/>
          </p:nvSpPr>
          <p:spPr>
            <a:xfrm>
              <a:off x="6165124" y="4193772"/>
              <a:ext cx="2447789" cy="48963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0" lvl="1" algn="ctr">
                <a:lnSpc>
                  <a:spcPct val="120000"/>
                </a:lnSpc>
                <a:buClr>
                  <a:srgbClr val="FFC000"/>
                </a:buClr>
              </a:pPr>
              <a:r>
                <a:rPr lang="zh-CN" altLang="en-US" sz="2400" dirty="0"/>
                <a:t>位示图法</a:t>
              </a:r>
            </a:p>
          </p:txBody>
        </p:sp>
        <p:sp>
          <p:nvSpPr>
            <p:cNvPr id="25" name="isľîdê"/>
            <p:cNvSpPr txBox="1"/>
            <p:nvPr/>
          </p:nvSpPr>
          <p:spPr>
            <a:xfrm>
              <a:off x="8928407" y="4179586"/>
              <a:ext cx="2753640" cy="74015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0" lvl="1" algn="ctr">
                <a:lnSpc>
                  <a:spcPct val="120000"/>
                </a:lnSpc>
                <a:buClr>
                  <a:srgbClr val="FFC000"/>
                </a:buClr>
              </a:pPr>
              <a:r>
                <a:rPr lang="zh-CN" altLang="en-US" sz="2400" dirty="0"/>
                <a:t>成组链接法</a:t>
              </a:r>
            </a:p>
          </p:txBody>
        </p:sp>
      </p:grp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9.2.1 </a:t>
            </a:r>
            <a:r>
              <a:rPr lang="zh-CN" altLang="en-US" sz="2800" b="1" dirty="0">
                <a:solidFill>
                  <a:schemeClr val="bg1"/>
                </a:solidFill>
              </a:rPr>
              <a:t>空闲区表法</a:t>
            </a:r>
          </a:p>
        </p:txBody>
      </p:sp>
      <p:sp>
        <p:nvSpPr>
          <p:cNvPr id="4" name="íšḻíḑê"/>
          <p:cNvSpPr/>
          <p:nvPr/>
        </p:nvSpPr>
        <p:spPr>
          <a:xfrm>
            <a:off x="669925" y="1340152"/>
            <a:ext cx="10845800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pPr marL="457200" indent="-457200">
              <a:buClr>
                <a:srgbClr val="FFC000"/>
              </a:buClr>
              <a:buFont typeface="Wingdings" panose="05000000000000000000" pitchFamily="2" charset="2"/>
              <a:buChar char="p"/>
            </a:pPr>
            <a:r>
              <a:rPr lang="zh-CN" altLang="en-US" sz="2600" dirty="0"/>
              <a:t>系统为外存上所有空闲区建立一张空闲表，属于连续分配方式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669925" y="1855741"/>
            <a:ext cx="672039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Clr>
                <a:srgbClr val="FFC000"/>
              </a:buClr>
              <a:buFont typeface="Wingdings" panose="05000000000000000000" pitchFamily="2" charset="2"/>
              <a:buChar char="p"/>
              <a:defRPr/>
            </a:pPr>
            <a:r>
              <a:rPr lang="zh-CN" altLang="en-US" sz="2400" dirty="0"/>
              <a:t>分配与回收</a:t>
            </a:r>
          </a:p>
        </p:txBody>
      </p:sp>
      <p:sp>
        <p:nvSpPr>
          <p:cNvPr id="26" name="内容占位符 2"/>
          <p:cNvSpPr txBox="1"/>
          <p:nvPr/>
        </p:nvSpPr>
        <p:spPr>
          <a:xfrm>
            <a:off x="1126528" y="2427248"/>
            <a:ext cx="10165867" cy="706569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>
                <a:solidFill>
                  <a:srgbClr val="0000FF"/>
                </a:solidFill>
              </a:rPr>
              <a:t>分配</a:t>
            </a:r>
            <a:r>
              <a:rPr lang="zh-CN" altLang="en-US" sz="2400" dirty="0"/>
              <a:t>类似于内存的分区动态分配，如首次适应算法和最佳适应算法等</a:t>
            </a:r>
          </a:p>
        </p:txBody>
      </p:sp>
      <p:sp>
        <p:nvSpPr>
          <p:cNvPr id="28" name="内容占位符 2"/>
          <p:cNvSpPr txBox="1"/>
          <p:nvPr/>
        </p:nvSpPr>
        <p:spPr>
          <a:xfrm>
            <a:off x="1126528" y="3056199"/>
            <a:ext cx="4978348" cy="706569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>
                <a:solidFill>
                  <a:srgbClr val="FF0000"/>
                </a:solidFill>
              </a:rPr>
              <a:t>回收</a:t>
            </a:r>
            <a:r>
              <a:rPr lang="zh-CN" altLang="en-US" sz="2400" dirty="0"/>
              <a:t>时，也类似于内存回收方法</a:t>
            </a: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000" y="3913351"/>
            <a:ext cx="9866842" cy="19736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9.2.2</a:t>
            </a:r>
            <a:r>
              <a:rPr lang="zh-CN" altLang="en-US" sz="2800" b="1" dirty="0">
                <a:solidFill>
                  <a:schemeClr val="bg1"/>
                </a:solidFill>
              </a:rPr>
              <a:t>空闲链表法</a:t>
            </a:r>
          </a:p>
        </p:txBody>
      </p:sp>
      <p:sp>
        <p:nvSpPr>
          <p:cNvPr id="13" name="内容占位符 2"/>
          <p:cNvSpPr txBox="1"/>
          <p:nvPr/>
        </p:nvSpPr>
        <p:spPr>
          <a:xfrm>
            <a:off x="810702" y="1861374"/>
            <a:ext cx="3644623" cy="97732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以盘块为单位链接起来</a:t>
            </a:r>
          </a:p>
          <a:p>
            <a:pPr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优点：分配和回收简单</a:t>
            </a:r>
          </a:p>
        </p:txBody>
      </p:sp>
      <p:sp>
        <p:nvSpPr>
          <p:cNvPr id="35" name="内容占位符 2"/>
          <p:cNvSpPr txBox="1"/>
          <p:nvPr/>
        </p:nvSpPr>
        <p:spPr>
          <a:xfrm>
            <a:off x="810702" y="3568960"/>
            <a:ext cx="5666994" cy="324568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3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将所有空闲盘区（每个盘区可包含若干个盘块）链接起来</a:t>
            </a:r>
          </a:p>
          <a:p>
            <a:pPr>
              <a:lnSpc>
                <a:spcPct val="123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分配盘区的方法与内存分区的动态分配方法类似</a:t>
            </a:r>
          </a:p>
          <a:p>
            <a:pPr>
              <a:lnSpc>
                <a:spcPct val="123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优点：效率较高</a:t>
            </a:r>
          </a:p>
          <a:p>
            <a:pPr>
              <a:lnSpc>
                <a:spcPct val="123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缺点：分配和回收比较复杂</a:t>
            </a:r>
          </a:p>
        </p:txBody>
      </p:sp>
      <p:sp>
        <p:nvSpPr>
          <p:cNvPr id="36" name="矩形: 圆角 35"/>
          <p:cNvSpPr/>
          <p:nvPr/>
        </p:nvSpPr>
        <p:spPr>
          <a:xfrm>
            <a:off x="810702" y="1092055"/>
            <a:ext cx="1950252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zh-CN" altLang="en-US" sz="2400" dirty="0"/>
              <a:t>空闲</a:t>
            </a:r>
            <a:r>
              <a:rPr lang="zh-CN" altLang="en-US" sz="2400" dirty="0">
                <a:solidFill>
                  <a:srgbClr val="FF0000"/>
                </a:solidFill>
              </a:rPr>
              <a:t>盘块</a:t>
            </a:r>
            <a:r>
              <a:rPr lang="zh-CN" altLang="en-US" sz="2400" dirty="0"/>
              <a:t>链</a:t>
            </a:r>
          </a:p>
        </p:txBody>
      </p:sp>
      <p:sp>
        <p:nvSpPr>
          <p:cNvPr id="37" name="矩形: 圆角 36"/>
          <p:cNvSpPr/>
          <p:nvPr/>
        </p:nvSpPr>
        <p:spPr>
          <a:xfrm>
            <a:off x="817074" y="2895300"/>
            <a:ext cx="1950252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zh-CN" altLang="en-US" sz="2400" dirty="0"/>
              <a:t>空闲</a:t>
            </a:r>
            <a:r>
              <a:rPr lang="zh-CN" altLang="en-US" sz="2400" dirty="0">
                <a:solidFill>
                  <a:srgbClr val="FF0000"/>
                </a:solidFill>
              </a:rPr>
              <a:t>盘区</a:t>
            </a:r>
            <a:r>
              <a:rPr lang="zh-CN" altLang="en-US" sz="2400" dirty="0"/>
              <a:t>链</a:t>
            </a:r>
          </a:p>
        </p:txBody>
      </p:sp>
      <p:sp>
        <p:nvSpPr>
          <p:cNvPr id="38" name="内容占位符 2"/>
          <p:cNvSpPr txBox="1"/>
          <p:nvPr/>
        </p:nvSpPr>
        <p:spPr>
          <a:xfrm>
            <a:off x="4455326" y="1861374"/>
            <a:ext cx="2620178" cy="52322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缺点：效率较低</a:t>
            </a:r>
          </a:p>
        </p:txBody>
      </p:sp>
      <p:pic>
        <p:nvPicPr>
          <p:cNvPr id="39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43" t="648" r="18672" b="1299"/>
          <a:stretch>
            <a:fillRect/>
          </a:stretch>
        </p:blipFill>
        <p:spPr bwMode="auto">
          <a:xfrm>
            <a:off x="7459154" y="1207468"/>
            <a:ext cx="4250208" cy="4970546"/>
          </a:xfrm>
          <a:prstGeom prst="rect">
            <a:avLst/>
          </a:prstGeom>
          <a:noFill/>
          <a:ln w="38100" cmpd="dbl">
            <a:solidFill>
              <a:srgbClr val="CC66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9.2.3 </a:t>
            </a:r>
            <a:r>
              <a:rPr lang="zh-CN" altLang="en-US" sz="2800" b="1" dirty="0">
                <a:solidFill>
                  <a:schemeClr val="bg1"/>
                </a:solidFill>
              </a:rPr>
              <a:t>成组链接法</a:t>
            </a:r>
          </a:p>
        </p:txBody>
      </p:sp>
      <p:sp>
        <p:nvSpPr>
          <p:cNvPr id="6" name="íšḻíḑê"/>
          <p:cNvSpPr/>
          <p:nvPr/>
        </p:nvSpPr>
        <p:spPr>
          <a:xfrm>
            <a:off x="1522219" y="1399822"/>
            <a:ext cx="7927445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pPr>
              <a:defRPr/>
            </a:pPr>
            <a:r>
              <a:rPr lang="zh-CN" altLang="en-US" sz="2400" dirty="0"/>
              <a:t>空闲盘块的</a:t>
            </a:r>
            <a:r>
              <a:rPr lang="zh-CN" altLang="en-US" sz="2400" dirty="0">
                <a:solidFill>
                  <a:srgbClr val="FF0000"/>
                </a:solidFill>
              </a:rPr>
              <a:t>组织</a:t>
            </a:r>
          </a:p>
        </p:txBody>
      </p:sp>
      <p:sp>
        <p:nvSpPr>
          <p:cNvPr id="7" name="内容占位符 2"/>
          <p:cNvSpPr txBox="1"/>
          <p:nvPr/>
        </p:nvSpPr>
        <p:spPr>
          <a:xfrm>
            <a:off x="1522219" y="1891080"/>
            <a:ext cx="10286385" cy="324568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3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文件区中的所有空闲盘块，被分成若干个组</a:t>
            </a:r>
          </a:p>
          <a:p>
            <a:pPr>
              <a:lnSpc>
                <a:spcPct val="123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将每一组含有的盘块总数</a:t>
            </a:r>
            <a:r>
              <a:rPr lang="en-US" altLang="zh-CN" sz="2400" dirty="0"/>
              <a:t>N</a:t>
            </a:r>
            <a:r>
              <a:rPr lang="zh-CN" altLang="en-US" sz="2400" dirty="0"/>
              <a:t>和该组所有的盘块号，记入其前一组的第一个盘块的</a:t>
            </a:r>
            <a:r>
              <a:rPr lang="en-US" altLang="zh-CN" sz="2400" dirty="0" err="1"/>
              <a:t>S.free</a:t>
            </a:r>
            <a:r>
              <a:rPr lang="en-US" altLang="zh-CN" sz="2400" dirty="0"/>
              <a:t>(0)~</a:t>
            </a:r>
            <a:r>
              <a:rPr lang="en-US" altLang="zh-CN" sz="2400" dirty="0" err="1"/>
              <a:t>S.free</a:t>
            </a:r>
            <a:r>
              <a:rPr lang="en-US" altLang="zh-CN" sz="2400" dirty="0"/>
              <a:t>(99)</a:t>
            </a:r>
            <a:r>
              <a:rPr lang="zh-CN" altLang="en-US" sz="2400" dirty="0"/>
              <a:t>中。</a:t>
            </a:r>
          </a:p>
          <a:p>
            <a:pPr>
              <a:lnSpc>
                <a:spcPct val="123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将第一组的盘块总数和所有的盘块号，记入空闲盘块号栈中，作为当前可供分配的空闲盘块号</a:t>
            </a:r>
          </a:p>
          <a:p>
            <a:pPr>
              <a:lnSpc>
                <a:spcPct val="123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最末一组只有</a:t>
            </a:r>
            <a:r>
              <a:rPr lang="en-US" altLang="zh-CN" sz="2400" dirty="0"/>
              <a:t>99</a:t>
            </a:r>
            <a:r>
              <a:rPr lang="zh-CN" altLang="en-US" sz="2400" dirty="0"/>
              <a:t>个盘块</a:t>
            </a:r>
          </a:p>
        </p:txBody>
      </p:sp>
      <p:sp>
        <p:nvSpPr>
          <p:cNvPr id="8" name="íšḻíḑê"/>
          <p:cNvSpPr/>
          <p:nvPr/>
        </p:nvSpPr>
        <p:spPr>
          <a:xfrm>
            <a:off x="1610995" y="5136760"/>
            <a:ext cx="7927445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pPr>
              <a:defRPr/>
            </a:pPr>
            <a:r>
              <a:rPr lang="zh-CN" altLang="en-US" sz="2400" dirty="0"/>
              <a:t>空闲盘块的分配与回收</a:t>
            </a:r>
          </a:p>
        </p:txBody>
      </p:sp>
      <p:sp>
        <p:nvSpPr>
          <p:cNvPr id="9" name="îSļiḓè"/>
          <p:cNvSpPr/>
          <p:nvPr/>
        </p:nvSpPr>
        <p:spPr>
          <a:xfrm>
            <a:off x="744166" y="1263213"/>
            <a:ext cx="627867" cy="627867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0" name="îşļiḓè"/>
          <p:cNvSpPr/>
          <p:nvPr/>
        </p:nvSpPr>
        <p:spPr>
          <a:xfrm>
            <a:off x="744166" y="4987872"/>
            <a:ext cx="627867" cy="627867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1" name="îṡḷíďe"/>
          <p:cNvSpPr/>
          <p:nvPr/>
        </p:nvSpPr>
        <p:spPr>
          <a:xfrm>
            <a:off x="934421" y="1459351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2" name="íSlíḋe"/>
          <p:cNvSpPr/>
          <p:nvPr/>
        </p:nvSpPr>
        <p:spPr>
          <a:xfrm>
            <a:off x="934420" y="5209889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</p:spTree>
    <p:extLst>
      <p:ext uri="{BB962C8B-B14F-4D97-AF65-F5344CB8AC3E}">
        <p14:creationId xmlns:p14="http://schemas.microsoft.com/office/powerpoint/2010/main" val="348846156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成组链接法示例</a:t>
            </a: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7716" y="1003275"/>
            <a:ext cx="10336567" cy="5152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77687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9.2.4 </a:t>
            </a:r>
            <a:r>
              <a:rPr lang="zh-CN" altLang="en-US" sz="2800" b="1" dirty="0">
                <a:solidFill>
                  <a:schemeClr val="bg1"/>
                </a:solidFill>
              </a:rPr>
              <a:t>位示图法</a:t>
            </a:r>
          </a:p>
        </p:txBody>
      </p:sp>
      <p:sp>
        <p:nvSpPr>
          <p:cNvPr id="225" name="íšḻíḑê"/>
          <p:cNvSpPr/>
          <p:nvPr/>
        </p:nvSpPr>
        <p:spPr>
          <a:xfrm>
            <a:off x="740983" y="1080226"/>
            <a:ext cx="7927445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pPr>
              <a:defRPr/>
            </a:pPr>
            <a:r>
              <a:rPr lang="zh-CN" altLang="en-US" sz="2400" dirty="0"/>
              <a:t>位示图</a:t>
            </a:r>
          </a:p>
        </p:txBody>
      </p:sp>
      <p:sp>
        <p:nvSpPr>
          <p:cNvPr id="15" name="内容占位符 2"/>
          <p:cNvSpPr txBox="1"/>
          <p:nvPr/>
        </p:nvSpPr>
        <p:spPr>
          <a:xfrm>
            <a:off x="306361" y="1530882"/>
            <a:ext cx="10506640" cy="273039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23000"/>
              </a:lnSpc>
              <a:spcBef>
                <a:spcPts val="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sym typeface="Wingdings" panose="05000000000000000000" pitchFamily="2" charset="2"/>
              </a:rPr>
              <a:t>利用二进制的一位来表示磁盘中一个盘块的使用情况</a:t>
            </a:r>
            <a:endParaRPr lang="en-US" altLang="zh-CN" sz="2400" dirty="0">
              <a:sym typeface="Wingdings" panose="05000000000000000000" pitchFamily="2" charset="2"/>
            </a:endParaRPr>
          </a:p>
          <a:p>
            <a:pPr lvl="2">
              <a:lnSpc>
                <a:spcPct val="123000"/>
              </a:lnSpc>
              <a:spcBef>
                <a:spcPts val="0"/>
              </a:spcBef>
              <a:buClr>
                <a:srgbClr val="FF0000"/>
              </a:buClr>
              <a:buFont typeface="Wingdings" panose="05000000000000000000" pitchFamily="2" charset="2"/>
              <a:buChar char="p"/>
            </a:pPr>
            <a:r>
              <a:rPr lang="zh-CN" altLang="en-US" sz="2400" dirty="0">
                <a:sym typeface="Wingdings" panose="05000000000000000000" pitchFamily="2" charset="2"/>
              </a:rPr>
              <a:t>当值为</a:t>
            </a:r>
            <a:r>
              <a:rPr lang="en-US" altLang="zh-CN" sz="2400" dirty="0">
                <a:sym typeface="Wingdings" panose="05000000000000000000" pitchFamily="2" charset="2"/>
              </a:rPr>
              <a:t>0</a:t>
            </a:r>
            <a:r>
              <a:rPr lang="zh-CN" altLang="en-US" sz="2400" dirty="0">
                <a:sym typeface="Wingdings" panose="05000000000000000000" pitchFamily="2" charset="2"/>
              </a:rPr>
              <a:t>时，表示对应的盘块空闲</a:t>
            </a:r>
            <a:endParaRPr lang="en-US" altLang="zh-CN" sz="2400" dirty="0">
              <a:sym typeface="Wingdings" panose="05000000000000000000" pitchFamily="2" charset="2"/>
            </a:endParaRPr>
          </a:p>
          <a:p>
            <a:pPr lvl="2">
              <a:lnSpc>
                <a:spcPct val="123000"/>
              </a:lnSpc>
              <a:spcBef>
                <a:spcPts val="0"/>
              </a:spcBef>
              <a:buClr>
                <a:srgbClr val="FF0000"/>
              </a:buClr>
              <a:buFont typeface="Wingdings" panose="05000000000000000000" pitchFamily="2" charset="2"/>
              <a:buChar char="p"/>
            </a:pPr>
            <a:r>
              <a:rPr lang="zh-CN" altLang="en-US" sz="2400" dirty="0">
                <a:sym typeface="Wingdings" panose="05000000000000000000" pitchFamily="2" charset="2"/>
              </a:rPr>
              <a:t>当值为</a:t>
            </a:r>
            <a:r>
              <a:rPr lang="en-US" altLang="zh-CN" sz="2400" dirty="0">
                <a:sym typeface="Wingdings" panose="05000000000000000000" pitchFamily="2" charset="2"/>
              </a:rPr>
              <a:t>1</a:t>
            </a:r>
            <a:r>
              <a:rPr lang="zh-CN" altLang="en-US" sz="2400" dirty="0">
                <a:sym typeface="Wingdings" panose="05000000000000000000" pitchFamily="2" charset="2"/>
              </a:rPr>
              <a:t>时，表示已分配</a:t>
            </a:r>
          </a:p>
          <a:p>
            <a:pPr lvl="1">
              <a:lnSpc>
                <a:spcPct val="123000"/>
              </a:lnSpc>
              <a:spcBef>
                <a:spcPts val="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solidFill>
                  <a:srgbClr val="0000FF"/>
                </a:solidFill>
                <a:sym typeface="Wingdings" panose="05000000000000000000" pitchFamily="2" charset="2"/>
              </a:rPr>
              <a:t>磁盘上的所有盘块都有一个二进制位与之对应，这样，由所有盘块所对应的位构成一个集合</a:t>
            </a:r>
            <a:r>
              <a:rPr lang="zh-CN" altLang="en-US" sz="2400" dirty="0">
                <a:sym typeface="Wingdings" panose="05000000000000000000" pitchFamily="2" charset="2"/>
              </a:rPr>
              <a:t>，称为</a:t>
            </a:r>
            <a:r>
              <a:rPr lang="zh-CN" altLang="en-US" sz="2400" dirty="0">
                <a:solidFill>
                  <a:srgbClr val="FF0000"/>
                </a:solidFill>
                <a:sym typeface="Wingdings" panose="05000000000000000000" pitchFamily="2" charset="2"/>
              </a:rPr>
              <a:t>位示图</a:t>
            </a:r>
          </a:p>
        </p:txBody>
      </p:sp>
      <p:pic>
        <p:nvPicPr>
          <p:cNvPr id="16" name="图片 15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46706" y="3888941"/>
            <a:ext cx="10298588" cy="2325427"/>
          </a:xfrm>
          <a:prstGeom prst="rect">
            <a:avLst/>
          </a:prstGeom>
          <a:ln>
            <a:noFill/>
          </a:ln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盘块的分配和回收</a:t>
            </a:r>
          </a:p>
        </p:txBody>
      </p:sp>
      <p:sp>
        <p:nvSpPr>
          <p:cNvPr id="40" name="ïşľîďè"/>
          <p:cNvSpPr/>
          <p:nvPr/>
        </p:nvSpPr>
        <p:spPr>
          <a:xfrm>
            <a:off x="-788524" y="1134122"/>
            <a:ext cx="4669654" cy="5003800"/>
          </a:xfrm>
          <a:prstGeom prst="rect">
            <a:avLst/>
          </a:prstGeom>
          <a:blipFill>
            <a:blip r:embed="rId2"/>
            <a:stretch>
              <a:fillRect l="-30450" r="-30284"/>
            </a:stretch>
          </a:blipFill>
          <a:ln w="190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 defTabSz="914400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41" name="îŝļiḋe"/>
          <p:cNvSpPr/>
          <p:nvPr/>
        </p:nvSpPr>
        <p:spPr>
          <a:xfrm>
            <a:off x="3224183" y="1134122"/>
            <a:ext cx="656948" cy="5003800"/>
          </a:xfrm>
          <a:prstGeom prst="rect">
            <a:avLst/>
          </a:prstGeom>
          <a:solidFill>
            <a:schemeClr val="accent1">
              <a:alpha val="70000"/>
            </a:schemeClr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 defTabSz="914400"/>
            <a:endParaRPr lang="zh-CN" altLang="en-US" sz="2000" b="1" dirty="0">
              <a:solidFill>
                <a:schemeClr val="bg1"/>
              </a:solidFill>
            </a:endParaRPr>
          </a:p>
        </p:txBody>
      </p:sp>
      <p:grpSp>
        <p:nvGrpSpPr>
          <p:cNvPr id="42" name="í$1iďè"/>
          <p:cNvGrpSpPr/>
          <p:nvPr/>
        </p:nvGrpSpPr>
        <p:grpSpPr>
          <a:xfrm>
            <a:off x="3348471" y="1411868"/>
            <a:ext cx="8618628" cy="2680737"/>
            <a:chOff x="4136995" y="1408046"/>
            <a:chExt cx="8618628" cy="2680737"/>
          </a:xfrm>
        </p:grpSpPr>
        <p:sp>
          <p:nvSpPr>
            <p:cNvPr id="43" name="îslîďê"/>
            <p:cNvSpPr/>
            <p:nvPr/>
          </p:nvSpPr>
          <p:spPr>
            <a:xfrm>
              <a:off x="4136995" y="1712614"/>
              <a:ext cx="408372" cy="363926"/>
            </a:xfrm>
            <a:custGeom>
              <a:avLst/>
              <a:gdLst>
                <a:gd name="connsiteX0" fmla="*/ 514822 w 607336"/>
                <a:gd name="connsiteY0" fmla="*/ 287718 h 541236"/>
                <a:gd name="connsiteX1" fmla="*/ 501327 w 607336"/>
                <a:gd name="connsiteY1" fmla="*/ 301190 h 541236"/>
                <a:gd name="connsiteX2" fmla="*/ 501327 w 607336"/>
                <a:gd name="connsiteY2" fmla="*/ 357185 h 541236"/>
                <a:gd name="connsiteX3" fmla="*/ 514822 w 607336"/>
                <a:gd name="connsiteY3" fmla="*/ 370656 h 541236"/>
                <a:gd name="connsiteX4" fmla="*/ 528317 w 607336"/>
                <a:gd name="connsiteY4" fmla="*/ 357185 h 541236"/>
                <a:gd name="connsiteX5" fmla="*/ 528317 w 607336"/>
                <a:gd name="connsiteY5" fmla="*/ 301190 h 541236"/>
                <a:gd name="connsiteX6" fmla="*/ 514822 w 607336"/>
                <a:gd name="connsiteY6" fmla="*/ 287718 h 541236"/>
                <a:gd name="connsiteX7" fmla="*/ 513884 w 607336"/>
                <a:gd name="connsiteY7" fmla="*/ 257846 h 541236"/>
                <a:gd name="connsiteX8" fmla="*/ 524093 w 607336"/>
                <a:gd name="connsiteY8" fmla="*/ 258315 h 541236"/>
                <a:gd name="connsiteX9" fmla="*/ 591098 w 607336"/>
                <a:gd name="connsiteY9" fmla="*/ 286664 h 541236"/>
                <a:gd name="connsiteX10" fmla="*/ 596496 w 607336"/>
                <a:gd name="connsiteY10" fmla="*/ 294630 h 541236"/>
                <a:gd name="connsiteX11" fmla="*/ 605297 w 607336"/>
                <a:gd name="connsiteY11" fmla="*/ 403457 h 541236"/>
                <a:gd name="connsiteX12" fmla="*/ 581123 w 607336"/>
                <a:gd name="connsiteY12" fmla="*/ 508770 h 541236"/>
                <a:gd name="connsiteX13" fmla="*/ 575725 w 607336"/>
                <a:gd name="connsiteY13" fmla="*/ 516736 h 541236"/>
                <a:gd name="connsiteX14" fmla="*/ 514822 w 607336"/>
                <a:gd name="connsiteY14" fmla="*/ 536650 h 541236"/>
                <a:gd name="connsiteX15" fmla="*/ 453919 w 607336"/>
                <a:gd name="connsiteY15" fmla="*/ 516736 h 541236"/>
                <a:gd name="connsiteX16" fmla="*/ 448521 w 607336"/>
                <a:gd name="connsiteY16" fmla="*/ 508770 h 541236"/>
                <a:gd name="connsiteX17" fmla="*/ 424348 w 607336"/>
                <a:gd name="connsiteY17" fmla="*/ 403457 h 541236"/>
                <a:gd name="connsiteX18" fmla="*/ 433149 w 607336"/>
                <a:gd name="connsiteY18" fmla="*/ 294630 h 541236"/>
                <a:gd name="connsiteX19" fmla="*/ 438547 w 607336"/>
                <a:gd name="connsiteY19" fmla="*/ 286664 h 541236"/>
                <a:gd name="connsiteX20" fmla="*/ 502970 w 607336"/>
                <a:gd name="connsiteY20" fmla="*/ 258315 h 541236"/>
                <a:gd name="connsiteX21" fmla="*/ 513884 w 607336"/>
                <a:gd name="connsiteY21" fmla="*/ 257846 h 541236"/>
                <a:gd name="connsiteX22" fmla="*/ 23466 w 607336"/>
                <a:gd name="connsiteY22" fmla="*/ 0 h 541236"/>
                <a:gd name="connsiteX23" fmla="*/ 555312 w 607336"/>
                <a:gd name="connsiteY23" fmla="*/ 0 h 541236"/>
                <a:gd name="connsiteX24" fmla="*/ 578778 w 607336"/>
                <a:gd name="connsiteY24" fmla="*/ 23430 h 541236"/>
                <a:gd name="connsiteX25" fmla="*/ 578778 w 607336"/>
                <a:gd name="connsiteY25" fmla="*/ 253163 h 541236"/>
                <a:gd name="connsiteX26" fmla="*/ 531847 w 607336"/>
                <a:gd name="connsiteY26" fmla="*/ 239339 h 541236"/>
                <a:gd name="connsiteX27" fmla="*/ 531847 w 607336"/>
                <a:gd name="connsiteY27" fmla="*/ 46861 h 541236"/>
                <a:gd name="connsiteX28" fmla="*/ 46931 w 607336"/>
                <a:gd name="connsiteY28" fmla="*/ 46861 h 541236"/>
                <a:gd name="connsiteX29" fmla="*/ 46931 w 607336"/>
                <a:gd name="connsiteY29" fmla="*/ 346766 h 541236"/>
                <a:gd name="connsiteX30" fmla="*/ 404898 w 607336"/>
                <a:gd name="connsiteY30" fmla="*/ 346766 h 541236"/>
                <a:gd name="connsiteX31" fmla="*/ 405837 w 607336"/>
                <a:gd name="connsiteY31" fmla="*/ 410730 h 541236"/>
                <a:gd name="connsiteX32" fmla="*/ 409005 w 607336"/>
                <a:gd name="connsiteY32" fmla="*/ 432638 h 541236"/>
                <a:gd name="connsiteX33" fmla="*/ 368175 w 607336"/>
                <a:gd name="connsiteY33" fmla="*/ 432638 h 541236"/>
                <a:gd name="connsiteX34" fmla="*/ 388120 w 607336"/>
                <a:gd name="connsiteY34" fmla="*/ 500585 h 541236"/>
                <a:gd name="connsiteX35" fmla="*/ 412407 w 607336"/>
                <a:gd name="connsiteY35" fmla="*/ 500585 h 541236"/>
                <a:gd name="connsiteX36" fmla="*/ 423553 w 607336"/>
                <a:gd name="connsiteY36" fmla="*/ 511714 h 541236"/>
                <a:gd name="connsiteX37" fmla="*/ 423553 w 607336"/>
                <a:gd name="connsiteY37" fmla="*/ 530107 h 541236"/>
                <a:gd name="connsiteX38" fmla="*/ 412407 w 607336"/>
                <a:gd name="connsiteY38" fmla="*/ 541236 h 541236"/>
                <a:gd name="connsiteX39" fmla="*/ 166371 w 607336"/>
                <a:gd name="connsiteY39" fmla="*/ 541236 h 541236"/>
                <a:gd name="connsiteX40" fmla="*/ 155225 w 607336"/>
                <a:gd name="connsiteY40" fmla="*/ 530107 h 541236"/>
                <a:gd name="connsiteX41" fmla="*/ 155225 w 607336"/>
                <a:gd name="connsiteY41" fmla="*/ 511714 h 541236"/>
                <a:gd name="connsiteX42" fmla="*/ 166371 w 607336"/>
                <a:gd name="connsiteY42" fmla="*/ 500585 h 541236"/>
                <a:gd name="connsiteX43" fmla="*/ 190658 w 607336"/>
                <a:gd name="connsiteY43" fmla="*/ 500585 h 541236"/>
                <a:gd name="connsiteX44" fmla="*/ 210721 w 607336"/>
                <a:gd name="connsiteY44" fmla="*/ 432638 h 541236"/>
                <a:gd name="connsiteX45" fmla="*/ 23466 w 607336"/>
                <a:gd name="connsiteY45" fmla="*/ 432638 h 541236"/>
                <a:gd name="connsiteX46" fmla="*/ 0 w 607336"/>
                <a:gd name="connsiteY46" fmla="*/ 409207 h 541236"/>
                <a:gd name="connsiteX47" fmla="*/ 0 w 607336"/>
                <a:gd name="connsiteY47" fmla="*/ 23430 h 541236"/>
                <a:gd name="connsiteX48" fmla="*/ 23466 w 607336"/>
                <a:gd name="connsiteY48" fmla="*/ 0 h 54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7336" h="541236">
                  <a:moveTo>
                    <a:pt x="514822" y="287718"/>
                  </a:moveTo>
                  <a:cubicBezTo>
                    <a:pt x="507429" y="287718"/>
                    <a:pt x="501327" y="293810"/>
                    <a:pt x="501327" y="301190"/>
                  </a:cubicBezTo>
                  <a:lnTo>
                    <a:pt x="501327" y="357185"/>
                  </a:lnTo>
                  <a:cubicBezTo>
                    <a:pt x="501327" y="364682"/>
                    <a:pt x="507429" y="370656"/>
                    <a:pt x="514822" y="370656"/>
                  </a:cubicBezTo>
                  <a:cubicBezTo>
                    <a:pt x="522215" y="370656"/>
                    <a:pt x="528317" y="364682"/>
                    <a:pt x="528317" y="357185"/>
                  </a:cubicBezTo>
                  <a:lnTo>
                    <a:pt x="528317" y="301190"/>
                  </a:lnTo>
                  <a:cubicBezTo>
                    <a:pt x="528317" y="293810"/>
                    <a:pt x="522215" y="287718"/>
                    <a:pt x="514822" y="287718"/>
                  </a:cubicBezTo>
                  <a:close/>
                  <a:moveTo>
                    <a:pt x="513884" y="257846"/>
                  </a:moveTo>
                  <a:cubicBezTo>
                    <a:pt x="521042" y="257846"/>
                    <a:pt x="524093" y="258315"/>
                    <a:pt x="524093" y="258315"/>
                  </a:cubicBezTo>
                  <a:cubicBezTo>
                    <a:pt x="546506" y="260423"/>
                    <a:pt x="569037" y="269795"/>
                    <a:pt x="591098" y="286664"/>
                  </a:cubicBezTo>
                  <a:cubicBezTo>
                    <a:pt x="593679" y="288655"/>
                    <a:pt x="595557" y="291467"/>
                    <a:pt x="596496" y="294630"/>
                  </a:cubicBezTo>
                  <a:cubicBezTo>
                    <a:pt x="606940" y="330710"/>
                    <a:pt x="609756" y="365268"/>
                    <a:pt x="605297" y="403457"/>
                  </a:cubicBezTo>
                  <a:cubicBezTo>
                    <a:pt x="601307" y="437312"/>
                    <a:pt x="592037" y="471166"/>
                    <a:pt x="581123" y="508770"/>
                  </a:cubicBezTo>
                  <a:cubicBezTo>
                    <a:pt x="580185" y="511933"/>
                    <a:pt x="578307" y="514744"/>
                    <a:pt x="575725" y="516736"/>
                  </a:cubicBezTo>
                  <a:cubicBezTo>
                    <a:pt x="559062" y="529622"/>
                    <a:pt x="537470" y="536650"/>
                    <a:pt x="514822" y="536650"/>
                  </a:cubicBezTo>
                  <a:cubicBezTo>
                    <a:pt x="492174" y="536650"/>
                    <a:pt x="470583" y="529622"/>
                    <a:pt x="453919" y="516736"/>
                  </a:cubicBezTo>
                  <a:cubicBezTo>
                    <a:pt x="451338" y="514744"/>
                    <a:pt x="449460" y="511933"/>
                    <a:pt x="448521" y="508770"/>
                  </a:cubicBezTo>
                  <a:cubicBezTo>
                    <a:pt x="437608" y="471166"/>
                    <a:pt x="428338" y="437312"/>
                    <a:pt x="424348" y="403457"/>
                  </a:cubicBezTo>
                  <a:cubicBezTo>
                    <a:pt x="420006" y="365268"/>
                    <a:pt x="422705" y="330710"/>
                    <a:pt x="433149" y="294630"/>
                  </a:cubicBezTo>
                  <a:cubicBezTo>
                    <a:pt x="434088" y="291467"/>
                    <a:pt x="435965" y="288655"/>
                    <a:pt x="438547" y="286664"/>
                  </a:cubicBezTo>
                  <a:cubicBezTo>
                    <a:pt x="459787" y="270381"/>
                    <a:pt x="481378" y="260892"/>
                    <a:pt x="502970" y="258315"/>
                  </a:cubicBezTo>
                  <a:cubicBezTo>
                    <a:pt x="502970" y="258315"/>
                    <a:pt x="506725" y="257846"/>
                    <a:pt x="513884" y="257846"/>
                  </a:cubicBezTo>
                  <a:close/>
                  <a:moveTo>
                    <a:pt x="23466" y="0"/>
                  </a:moveTo>
                  <a:lnTo>
                    <a:pt x="555312" y="0"/>
                  </a:lnTo>
                  <a:cubicBezTo>
                    <a:pt x="568336" y="0"/>
                    <a:pt x="578778" y="10544"/>
                    <a:pt x="578778" y="23430"/>
                  </a:cubicBezTo>
                  <a:lnTo>
                    <a:pt x="578778" y="253163"/>
                  </a:lnTo>
                  <a:cubicBezTo>
                    <a:pt x="563408" y="245548"/>
                    <a:pt x="547686" y="240979"/>
                    <a:pt x="531847" y="239339"/>
                  </a:cubicBezTo>
                  <a:lnTo>
                    <a:pt x="531847" y="46861"/>
                  </a:lnTo>
                  <a:lnTo>
                    <a:pt x="46931" y="46861"/>
                  </a:lnTo>
                  <a:lnTo>
                    <a:pt x="46931" y="346766"/>
                  </a:lnTo>
                  <a:lnTo>
                    <a:pt x="404898" y="346766"/>
                  </a:lnTo>
                  <a:cubicBezTo>
                    <a:pt x="402904" y="367502"/>
                    <a:pt x="403256" y="388589"/>
                    <a:pt x="405837" y="410730"/>
                  </a:cubicBezTo>
                  <a:cubicBezTo>
                    <a:pt x="406658" y="418111"/>
                    <a:pt x="407714" y="425374"/>
                    <a:pt x="409005" y="432638"/>
                  </a:cubicBezTo>
                  <a:lnTo>
                    <a:pt x="368175" y="432638"/>
                  </a:lnTo>
                  <a:lnTo>
                    <a:pt x="388120" y="500585"/>
                  </a:lnTo>
                  <a:lnTo>
                    <a:pt x="412407" y="500585"/>
                  </a:lnTo>
                  <a:cubicBezTo>
                    <a:pt x="418626" y="500585"/>
                    <a:pt x="423553" y="505622"/>
                    <a:pt x="423553" y="511714"/>
                  </a:cubicBezTo>
                  <a:lnTo>
                    <a:pt x="423553" y="530107"/>
                  </a:lnTo>
                  <a:cubicBezTo>
                    <a:pt x="423553" y="536199"/>
                    <a:pt x="418626" y="541236"/>
                    <a:pt x="412407" y="541236"/>
                  </a:cubicBezTo>
                  <a:lnTo>
                    <a:pt x="166371" y="541236"/>
                  </a:lnTo>
                  <a:cubicBezTo>
                    <a:pt x="160270" y="541236"/>
                    <a:pt x="155225" y="536199"/>
                    <a:pt x="155225" y="530107"/>
                  </a:cubicBezTo>
                  <a:lnTo>
                    <a:pt x="155225" y="511714"/>
                  </a:lnTo>
                  <a:cubicBezTo>
                    <a:pt x="155225" y="505622"/>
                    <a:pt x="160270" y="500585"/>
                    <a:pt x="166371" y="500585"/>
                  </a:cubicBezTo>
                  <a:lnTo>
                    <a:pt x="190658" y="500585"/>
                  </a:lnTo>
                  <a:lnTo>
                    <a:pt x="210721" y="432638"/>
                  </a:lnTo>
                  <a:lnTo>
                    <a:pt x="23466" y="432638"/>
                  </a:lnTo>
                  <a:cubicBezTo>
                    <a:pt x="10560" y="432638"/>
                    <a:pt x="0" y="422211"/>
                    <a:pt x="0" y="409207"/>
                  </a:cubicBezTo>
                  <a:lnTo>
                    <a:pt x="0" y="23430"/>
                  </a:lnTo>
                  <a:cubicBezTo>
                    <a:pt x="0" y="10544"/>
                    <a:pt x="10560" y="0"/>
                    <a:pt x="23466" y="0"/>
                  </a:cubicBez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44" name="ïSḻiḍé"/>
            <p:cNvSpPr txBox="1"/>
            <p:nvPr/>
          </p:nvSpPr>
          <p:spPr>
            <a:xfrm>
              <a:off x="4882718" y="1408046"/>
              <a:ext cx="7872905" cy="2680737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defRPr/>
              </a:pPr>
              <a:r>
                <a:rPr lang="zh-CN" altLang="en-US" sz="2400" dirty="0"/>
                <a:t>盘块的分配</a:t>
              </a:r>
              <a:endParaRPr lang="en-US" altLang="zh-CN" sz="2400" dirty="0"/>
            </a:p>
            <a:p>
              <a:pPr marL="0" marR="0" lvl="1" indent="-228600" algn="l" defTabSz="914400" rtl="0" eaLnBrk="1" fontAlgn="base" latinLnBrk="0" hangingPunct="1">
                <a:lnSpc>
                  <a:spcPct val="123000"/>
                </a:lnSpc>
                <a:spcBef>
                  <a:spcPts val="375"/>
                </a:spcBef>
                <a:spcAft>
                  <a:spcPct val="0"/>
                </a:spcAft>
                <a:buClr>
                  <a:srgbClr val="9B2D1F"/>
                </a:buClr>
                <a:buSzPct val="85000"/>
                <a:buFont typeface="Wingdings" panose="05000000000000000000" pitchFamily="2" charset="2"/>
                <a:buChar char="Ø"/>
                <a:defRPr/>
              </a:pPr>
              <a:r>
                <a:rPr kumimoji="0" lang="zh-CN" alt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cs typeface="+mn-cs"/>
                  <a:sym typeface="Wingdings" panose="05000000000000000000" pitchFamily="2" charset="2"/>
                </a:rPr>
                <a:t>顺序扫描位示图，从中找出一个或一组其值为</a:t>
              </a:r>
              <a:r>
                <a:rPr kumimoji="0" lang="en-US" altLang="zh-CN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cs typeface="+mn-cs"/>
                  <a:sym typeface="Wingdings" panose="05000000000000000000" pitchFamily="2" charset="2"/>
                </a:rPr>
                <a:t>0</a:t>
              </a:r>
              <a:r>
                <a:rPr kumimoji="0" lang="zh-CN" alt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cs typeface="+mn-cs"/>
                  <a:sym typeface="Wingdings" panose="05000000000000000000" pitchFamily="2" charset="2"/>
                </a:rPr>
                <a:t>的二进制位</a:t>
              </a:r>
            </a:p>
            <a:p>
              <a:pPr marL="0" marR="0" lvl="1" indent="-228600" algn="l" defTabSz="914400" rtl="0" eaLnBrk="1" fontAlgn="base" latinLnBrk="0" hangingPunct="1">
                <a:lnSpc>
                  <a:spcPct val="123000"/>
                </a:lnSpc>
                <a:spcBef>
                  <a:spcPts val="375"/>
                </a:spcBef>
                <a:spcAft>
                  <a:spcPct val="0"/>
                </a:spcAft>
                <a:buClr>
                  <a:srgbClr val="9B2D1F"/>
                </a:buClr>
                <a:buSzPct val="85000"/>
                <a:buFont typeface="Wingdings" panose="05000000000000000000" pitchFamily="2" charset="2"/>
                <a:buChar char="Ø"/>
                <a:defRPr/>
              </a:pPr>
              <a:r>
                <a:rPr kumimoji="0" lang="zh-CN" alt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cs typeface="+mn-cs"/>
                  <a:sym typeface="Wingdings" panose="05000000000000000000" pitchFamily="2" charset="2"/>
                </a:rPr>
                <a:t>将所找到的一个或一组二进制位，转换成与之相应的盘块号。假定   </a:t>
              </a:r>
              <a:br>
                <a:rPr kumimoji="0" lang="en-US" altLang="zh-CN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cs typeface="+mn-cs"/>
                  <a:sym typeface="Wingdings" panose="05000000000000000000" pitchFamily="2" charset="2"/>
                </a:rPr>
              </a:br>
              <a:r>
                <a:rPr kumimoji="0" lang="en-US" altLang="zh-CN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cs typeface="+mn-cs"/>
                  <a:sym typeface="Wingdings" panose="05000000000000000000" pitchFamily="2" charset="2"/>
                </a:rPr>
                <a:t>   </a:t>
              </a:r>
              <a:r>
                <a:rPr kumimoji="0" lang="zh-CN" alt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cs typeface="+mn-cs"/>
                  <a:sym typeface="Wingdings" panose="05000000000000000000" pitchFamily="2" charset="2"/>
                </a:rPr>
                <a:t>找到的其值为</a:t>
              </a:r>
              <a:r>
                <a:rPr kumimoji="0" lang="en-US" altLang="zh-CN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cs typeface="+mn-cs"/>
                  <a:sym typeface="Wingdings" panose="05000000000000000000" pitchFamily="2" charset="2"/>
                </a:rPr>
                <a:t>0</a:t>
              </a:r>
              <a:r>
                <a:rPr kumimoji="0" lang="zh-CN" alt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cs typeface="+mn-cs"/>
                  <a:sym typeface="Wingdings" panose="05000000000000000000" pitchFamily="2" charset="2"/>
                </a:rPr>
                <a:t>的二进制位，位于位示图的第</a:t>
              </a:r>
              <a:r>
                <a:rPr kumimoji="0" lang="en-US" altLang="zh-CN" sz="20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cs typeface="+mn-cs"/>
                  <a:sym typeface="Wingdings" panose="05000000000000000000" pitchFamily="2" charset="2"/>
                </a:rPr>
                <a:t>i</a:t>
              </a:r>
              <a:r>
                <a:rPr kumimoji="0" lang="zh-CN" alt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cs typeface="+mn-cs"/>
                  <a:sym typeface="Wingdings" panose="05000000000000000000" pitchFamily="2" charset="2"/>
                </a:rPr>
                <a:t>行、第</a:t>
              </a:r>
              <a:r>
                <a:rPr kumimoji="0" lang="en-US" altLang="zh-CN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cs typeface="+mn-cs"/>
                  <a:sym typeface="Wingdings" panose="05000000000000000000" pitchFamily="2" charset="2"/>
                </a:rPr>
                <a:t>j</a:t>
              </a:r>
              <a:r>
                <a:rPr kumimoji="0" lang="zh-CN" alt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cs typeface="+mn-cs"/>
                  <a:sym typeface="Wingdings" panose="05000000000000000000" pitchFamily="2" charset="2"/>
                </a:rPr>
                <a:t>列，则其相应   </a:t>
              </a:r>
              <a:br>
                <a:rPr kumimoji="0" lang="en-US" altLang="zh-CN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cs typeface="+mn-cs"/>
                  <a:sym typeface="Wingdings" panose="05000000000000000000" pitchFamily="2" charset="2"/>
                </a:rPr>
              </a:br>
              <a:r>
                <a:rPr kumimoji="0" lang="en-US" altLang="zh-CN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cs typeface="+mn-cs"/>
                  <a:sym typeface="Wingdings" panose="05000000000000000000" pitchFamily="2" charset="2"/>
                </a:rPr>
                <a:t>   </a:t>
              </a:r>
              <a:r>
                <a:rPr kumimoji="0" lang="zh-CN" alt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cs typeface="+mn-cs"/>
                  <a:sym typeface="Wingdings" panose="05000000000000000000" pitchFamily="2" charset="2"/>
                </a:rPr>
                <a:t>的盘块号为：</a:t>
              </a:r>
              <a:r>
                <a:rPr kumimoji="0" lang="en-US" altLang="zh-CN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+mn-ea"/>
                  <a:cs typeface="+mn-cs"/>
                  <a:sym typeface="Wingdings" panose="05000000000000000000" pitchFamily="2" charset="2"/>
                </a:rPr>
                <a:t>b=n(i-1)+j</a:t>
              </a:r>
            </a:p>
            <a:p>
              <a:pPr marL="0" marR="0" lvl="1" indent="-228600" algn="l" defTabSz="914400" rtl="0" eaLnBrk="1" fontAlgn="base" latinLnBrk="0" hangingPunct="1">
                <a:lnSpc>
                  <a:spcPct val="123000"/>
                </a:lnSpc>
                <a:spcBef>
                  <a:spcPts val="375"/>
                </a:spcBef>
                <a:spcAft>
                  <a:spcPct val="0"/>
                </a:spcAft>
                <a:buClr>
                  <a:srgbClr val="9B2D1F"/>
                </a:buClr>
                <a:buSzPct val="85000"/>
                <a:buFont typeface="Wingdings" panose="05000000000000000000" pitchFamily="2" charset="2"/>
                <a:buChar char="Ø"/>
                <a:defRPr/>
              </a:pPr>
              <a:r>
                <a:rPr kumimoji="0" lang="zh-CN" alt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cs typeface="+mn-cs"/>
                  <a:sym typeface="Wingdings" panose="05000000000000000000" pitchFamily="2" charset="2"/>
                </a:rPr>
                <a:t>修改位示图，令</a:t>
              </a:r>
              <a:r>
                <a:rPr kumimoji="0" lang="en-US" altLang="zh-CN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cs typeface="+mn-cs"/>
                  <a:sym typeface="Wingdings" panose="05000000000000000000" pitchFamily="2" charset="2"/>
                </a:rPr>
                <a:t>map[</a:t>
              </a:r>
              <a:r>
                <a:rPr kumimoji="0" lang="en-US" altLang="zh-CN" sz="20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cs typeface="+mn-cs"/>
                  <a:sym typeface="Wingdings" panose="05000000000000000000" pitchFamily="2" charset="2"/>
                </a:rPr>
                <a:t>i,j</a:t>
              </a:r>
              <a:r>
                <a:rPr kumimoji="0" lang="en-US" altLang="zh-CN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ea"/>
                  <a:cs typeface="+mn-cs"/>
                  <a:sym typeface="Wingdings" panose="05000000000000000000" pitchFamily="2" charset="2"/>
                </a:rPr>
                <a:t>]=1</a:t>
              </a:r>
            </a:p>
            <a:p>
              <a:pPr>
                <a:defRPr/>
              </a:pPr>
              <a:endParaRPr lang="zh-CN" altLang="en-US" sz="2400" dirty="0"/>
            </a:p>
          </p:txBody>
        </p:sp>
      </p:grpSp>
      <p:grpSp>
        <p:nvGrpSpPr>
          <p:cNvPr id="48" name="ïSlíḍê"/>
          <p:cNvGrpSpPr/>
          <p:nvPr/>
        </p:nvGrpSpPr>
        <p:grpSpPr>
          <a:xfrm>
            <a:off x="3348471" y="4371764"/>
            <a:ext cx="8378931" cy="1311067"/>
            <a:chOff x="4136995" y="4714289"/>
            <a:chExt cx="8378931" cy="1311067"/>
          </a:xfrm>
        </p:grpSpPr>
        <p:sp>
          <p:nvSpPr>
            <p:cNvPr id="49" name="ïsľíḓê"/>
            <p:cNvSpPr/>
            <p:nvPr/>
          </p:nvSpPr>
          <p:spPr>
            <a:xfrm>
              <a:off x="4136995" y="5187860"/>
              <a:ext cx="408372" cy="363926"/>
            </a:xfrm>
            <a:custGeom>
              <a:avLst/>
              <a:gdLst>
                <a:gd name="connsiteX0" fmla="*/ 514822 w 607336"/>
                <a:gd name="connsiteY0" fmla="*/ 287718 h 541236"/>
                <a:gd name="connsiteX1" fmla="*/ 501327 w 607336"/>
                <a:gd name="connsiteY1" fmla="*/ 301190 h 541236"/>
                <a:gd name="connsiteX2" fmla="*/ 501327 w 607336"/>
                <a:gd name="connsiteY2" fmla="*/ 357185 h 541236"/>
                <a:gd name="connsiteX3" fmla="*/ 514822 w 607336"/>
                <a:gd name="connsiteY3" fmla="*/ 370656 h 541236"/>
                <a:gd name="connsiteX4" fmla="*/ 528317 w 607336"/>
                <a:gd name="connsiteY4" fmla="*/ 357185 h 541236"/>
                <a:gd name="connsiteX5" fmla="*/ 528317 w 607336"/>
                <a:gd name="connsiteY5" fmla="*/ 301190 h 541236"/>
                <a:gd name="connsiteX6" fmla="*/ 514822 w 607336"/>
                <a:gd name="connsiteY6" fmla="*/ 287718 h 541236"/>
                <a:gd name="connsiteX7" fmla="*/ 513884 w 607336"/>
                <a:gd name="connsiteY7" fmla="*/ 257846 h 541236"/>
                <a:gd name="connsiteX8" fmla="*/ 524093 w 607336"/>
                <a:gd name="connsiteY8" fmla="*/ 258315 h 541236"/>
                <a:gd name="connsiteX9" fmla="*/ 591098 w 607336"/>
                <a:gd name="connsiteY9" fmla="*/ 286664 h 541236"/>
                <a:gd name="connsiteX10" fmla="*/ 596496 w 607336"/>
                <a:gd name="connsiteY10" fmla="*/ 294630 h 541236"/>
                <a:gd name="connsiteX11" fmla="*/ 605297 w 607336"/>
                <a:gd name="connsiteY11" fmla="*/ 403457 h 541236"/>
                <a:gd name="connsiteX12" fmla="*/ 581123 w 607336"/>
                <a:gd name="connsiteY12" fmla="*/ 508770 h 541236"/>
                <a:gd name="connsiteX13" fmla="*/ 575725 w 607336"/>
                <a:gd name="connsiteY13" fmla="*/ 516736 h 541236"/>
                <a:gd name="connsiteX14" fmla="*/ 514822 w 607336"/>
                <a:gd name="connsiteY14" fmla="*/ 536650 h 541236"/>
                <a:gd name="connsiteX15" fmla="*/ 453919 w 607336"/>
                <a:gd name="connsiteY15" fmla="*/ 516736 h 541236"/>
                <a:gd name="connsiteX16" fmla="*/ 448521 w 607336"/>
                <a:gd name="connsiteY16" fmla="*/ 508770 h 541236"/>
                <a:gd name="connsiteX17" fmla="*/ 424348 w 607336"/>
                <a:gd name="connsiteY17" fmla="*/ 403457 h 541236"/>
                <a:gd name="connsiteX18" fmla="*/ 433149 w 607336"/>
                <a:gd name="connsiteY18" fmla="*/ 294630 h 541236"/>
                <a:gd name="connsiteX19" fmla="*/ 438547 w 607336"/>
                <a:gd name="connsiteY19" fmla="*/ 286664 h 541236"/>
                <a:gd name="connsiteX20" fmla="*/ 502970 w 607336"/>
                <a:gd name="connsiteY20" fmla="*/ 258315 h 541236"/>
                <a:gd name="connsiteX21" fmla="*/ 513884 w 607336"/>
                <a:gd name="connsiteY21" fmla="*/ 257846 h 541236"/>
                <a:gd name="connsiteX22" fmla="*/ 23466 w 607336"/>
                <a:gd name="connsiteY22" fmla="*/ 0 h 541236"/>
                <a:gd name="connsiteX23" fmla="*/ 555312 w 607336"/>
                <a:gd name="connsiteY23" fmla="*/ 0 h 541236"/>
                <a:gd name="connsiteX24" fmla="*/ 578778 w 607336"/>
                <a:gd name="connsiteY24" fmla="*/ 23430 h 541236"/>
                <a:gd name="connsiteX25" fmla="*/ 578778 w 607336"/>
                <a:gd name="connsiteY25" fmla="*/ 253163 h 541236"/>
                <a:gd name="connsiteX26" fmla="*/ 531847 w 607336"/>
                <a:gd name="connsiteY26" fmla="*/ 239339 h 541236"/>
                <a:gd name="connsiteX27" fmla="*/ 531847 w 607336"/>
                <a:gd name="connsiteY27" fmla="*/ 46861 h 541236"/>
                <a:gd name="connsiteX28" fmla="*/ 46931 w 607336"/>
                <a:gd name="connsiteY28" fmla="*/ 46861 h 541236"/>
                <a:gd name="connsiteX29" fmla="*/ 46931 w 607336"/>
                <a:gd name="connsiteY29" fmla="*/ 346766 h 541236"/>
                <a:gd name="connsiteX30" fmla="*/ 404898 w 607336"/>
                <a:gd name="connsiteY30" fmla="*/ 346766 h 541236"/>
                <a:gd name="connsiteX31" fmla="*/ 405837 w 607336"/>
                <a:gd name="connsiteY31" fmla="*/ 410730 h 541236"/>
                <a:gd name="connsiteX32" fmla="*/ 409005 w 607336"/>
                <a:gd name="connsiteY32" fmla="*/ 432638 h 541236"/>
                <a:gd name="connsiteX33" fmla="*/ 368175 w 607336"/>
                <a:gd name="connsiteY33" fmla="*/ 432638 h 541236"/>
                <a:gd name="connsiteX34" fmla="*/ 388120 w 607336"/>
                <a:gd name="connsiteY34" fmla="*/ 500585 h 541236"/>
                <a:gd name="connsiteX35" fmla="*/ 412407 w 607336"/>
                <a:gd name="connsiteY35" fmla="*/ 500585 h 541236"/>
                <a:gd name="connsiteX36" fmla="*/ 423553 w 607336"/>
                <a:gd name="connsiteY36" fmla="*/ 511714 h 541236"/>
                <a:gd name="connsiteX37" fmla="*/ 423553 w 607336"/>
                <a:gd name="connsiteY37" fmla="*/ 530107 h 541236"/>
                <a:gd name="connsiteX38" fmla="*/ 412407 w 607336"/>
                <a:gd name="connsiteY38" fmla="*/ 541236 h 541236"/>
                <a:gd name="connsiteX39" fmla="*/ 166371 w 607336"/>
                <a:gd name="connsiteY39" fmla="*/ 541236 h 541236"/>
                <a:gd name="connsiteX40" fmla="*/ 155225 w 607336"/>
                <a:gd name="connsiteY40" fmla="*/ 530107 h 541236"/>
                <a:gd name="connsiteX41" fmla="*/ 155225 w 607336"/>
                <a:gd name="connsiteY41" fmla="*/ 511714 h 541236"/>
                <a:gd name="connsiteX42" fmla="*/ 166371 w 607336"/>
                <a:gd name="connsiteY42" fmla="*/ 500585 h 541236"/>
                <a:gd name="connsiteX43" fmla="*/ 190658 w 607336"/>
                <a:gd name="connsiteY43" fmla="*/ 500585 h 541236"/>
                <a:gd name="connsiteX44" fmla="*/ 210721 w 607336"/>
                <a:gd name="connsiteY44" fmla="*/ 432638 h 541236"/>
                <a:gd name="connsiteX45" fmla="*/ 23466 w 607336"/>
                <a:gd name="connsiteY45" fmla="*/ 432638 h 541236"/>
                <a:gd name="connsiteX46" fmla="*/ 0 w 607336"/>
                <a:gd name="connsiteY46" fmla="*/ 409207 h 541236"/>
                <a:gd name="connsiteX47" fmla="*/ 0 w 607336"/>
                <a:gd name="connsiteY47" fmla="*/ 23430 h 541236"/>
                <a:gd name="connsiteX48" fmla="*/ 23466 w 607336"/>
                <a:gd name="connsiteY48" fmla="*/ 0 h 54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7336" h="541236">
                  <a:moveTo>
                    <a:pt x="514822" y="287718"/>
                  </a:moveTo>
                  <a:cubicBezTo>
                    <a:pt x="507429" y="287718"/>
                    <a:pt x="501327" y="293810"/>
                    <a:pt x="501327" y="301190"/>
                  </a:cubicBezTo>
                  <a:lnTo>
                    <a:pt x="501327" y="357185"/>
                  </a:lnTo>
                  <a:cubicBezTo>
                    <a:pt x="501327" y="364682"/>
                    <a:pt x="507429" y="370656"/>
                    <a:pt x="514822" y="370656"/>
                  </a:cubicBezTo>
                  <a:cubicBezTo>
                    <a:pt x="522215" y="370656"/>
                    <a:pt x="528317" y="364682"/>
                    <a:pt x="528317" y="357185"/>
                  </a:cubicBezTo>
                  <a:lnTo>
                    <a:pt x="528317" y="301190"/>
                  </a:lnTo>
                  <a:cubicBezTo>
                    <a:pt x="528317" y="293810"/>
                    <a:pt x="522215" y="287718"/>
                    <a:pt x="514822" y="287718"/>
                  </a:cubicBezTo>
                  <a:close/>
                  <a:moveTo>
                    <a:pt x="513884" y="257846"/>
                  </a:moveTo>
                  <a:cubicBezTo>
                    <a:pt x="521042" y="257846"/>
                    <a:pt x="524093" y="258315"/>
                    <a:pt x="524093" y="258315"/>
                  </a:cubicBezTo>
                  <a:cubicBezTo>
                    <a:pt x="546506" y="260423"/>
                    <a:pt x="569037" y="269795"/>
                    <a:pt x="591098" y="286664"/>
                  </a:cubicBezTo>
                  <a:cubicBezTo>
                    <a:pt x="593679" y="288655"/>
                    <a:pt x="595557" y="291467"/>
                    <a:pt x="596496" y="294630"/>
                  </a:cubicBezTo>
                  <a:cubicBezTo>
                    <a:pt x="606940" y="330710"/>
                    <a:pt x="609756" y="365268"/>
                    <a:pt x="605297" y="403457"/>
                  </a:cubicBezTo>
                  <a:cubicBezTo>
                    <a:pt x="601307" y="437312"/>
                    <a:pt x="592037" y="471166"/>
                    <a:pt x="581123" y="508770"/>
                  </a:cubicBezTo>
                  <a:cubicBezTo>
                    <a:pt x="580185" y="511933"/>
                    <a:pt x="578307" y="514744"/>
                    <a:pt x="575725" y="516736"/>
                  </a:cubicBezTo>
                  <a:cubicBezTo>
                    <a:pt x="559062" y="529622"/>
                    <a:pt x="537470" y="536650"/>
                    <a:pt x="514822" y="536650"/>
                  </a:cubicBezTo>
                  <a:cubicBezTo>
                    <a:pt x="492174" y="536650"/>
                    <a:pt x="470583" y="529622"/>
                    <a:pt x="453919" y="516736"/>
                  </a:cubicBezTo>
                  <a:cubicBezTo>
                    <a:pt x="451338" y="514744"/>
                    <a:pt x="449460" y="511933"/>
                    <a:pt x="448521" y="508770"/>
                  </a:cubicBezTo>
                  <a:cubicBezTo>
                    <a:pt x="437608" y="471166"/>
                    <a:pt x="428338" y="437312"/>
                    <a:pt x="424348" y="403457"/>
                  </a:cubicBezTo>
                  <a:cubicBezTo>
                    <a:pt x="420006" y="365268"/>
                    <a:pt x="422705" y="330710"/>
                    <a:pt x="433149" y="294630"/>
                  </a:cubicBezTo>
                  <a:cubicBezTo>
                    <a:pt x="434088" y="291467"/>
                    <a:pt x="435965" y="288655"/>
                    <a:pt x="438547" y="286664"/>
                  </a:cubicBezTo>
                  <a:cubicBezTo>
                    <a:pt x="459787" y="270381"/>
                    <a:pt x="481378" y="260892"/>
                    <a:pt x="502970" y="258315"/>
                  </a:cubicBezTo>
                  <a:cubicBezTo>
                    <a:pt x="502970" y="258315"/>
                    <a:pt x="506725" y="257846"/>
                    <a:pt x="513884" y="257846"/>
                  </a:cubicBezTo>
                  <a:close/>
                  <a:moveTo>
                    <a:pt x="23466" y="0"/>
                  </a:moveTo>
                  <a:lnTo>
                    <a:pt x="555312" y="0"/>
                  </a:lnTo>
                  <a:cubicBezTo>
                    <a:pt x="568336" y="0"/>
                    <a:pt x="578778" y="10544"/>
                    <a:pt x="578778" y="23430"/>
                  </a:cubicBezTo>
                  <a:lnTo>
                    <a:pt x="578778" y="253163"/>
                  </a:lnTo>
                  <a:cubicBezTo>
                    <a:pt x="563408" y="245548"/>
                    <a:pt x="547686" y="240979"/>
                    <a:pt x="531847" y="239339"/>
                  </a:cubicBezTo>
                  <a:lnTo>
                    <a:pt x="531847" y="46861"/>
                  </a:lnTo>
                  <a:lnTo>
                    <a:pt x="46931" y="46861"/>
                  </a:lnTo>
                  <a:lnTo>
                    <a:pt x="46931" y="346766"/>
                  </a:lnTo>
                  <a:lnTo>
                    <a:pt x="404898" y="346766"/>
                  </a:lnTo>
                  <a:cubicBezTo>
                    <a:pt x="402904" y="367502"/>
                    <a:pt x="403256" y="388589"/>
                    <a:pt x="405837" y="410730"/>
                  </a:cubicBezTo>
                  <a:cubicBezTo>
                    <a:pt x="406658" y="418111"/>
                    <a:pt x="407714" y="425374"/>
                    <a:pt x="409005" y="432638"/>
                  </a:cubicBezTo>
                  <a:lnTo>
                    <a:pt x="368175" y="432638"/>
                  </a:lnTo>
                  <a:lnTo>
                    <a:pt x="388120" y="500585"/>
                  </a:lnTo>
                  <a:lnTo>
                    <a:pt x="412407" y="500585"/>
                  </a:lnTo>
                  <a:cubicBezTo>
                    <a:pt x="418626" y="500585"/>
                    <a:pt x="423553" y="505622"/>
                    <a:pt x="423553" y="511714"/>
                  </a:cubicBezTo>
                  <a:lnTo>
                    <a:pt x="423553" y="530107"/>
                  </a:lnTo>
                  <a:cubicBezTo>
                    <a:pt x="423553" y="536199"/>
                    <a:pt x="418626" y="541236"/>
                    <a:pt x="412407" y="541236"/>
                  </a:cubicBezTo>
                  <a:lnTo>
                    <a:pt x="166371" y="541236"/>
                  </a:lnTo>
                  <a:cubicBezTo>
                    <a:pt x="160270" y="541236"/>
                    <a:pt x="155225" y="536199"/>
                    <a:pt x="155225" y="530107"/>
                  </a:cubicBezTo>
                  <a:lnTo>
                    <a:pt x="155225" y="511714"/>
                  </a:lnTo>
                  <a:cubicBezTo>
                    <a:pt x="155225" y="505622"/>
                    <a:pt x="160270" y="500585"/>
                    <a:pt x="166371" y="500585"/>
                  </a:cubicBezTo>
                  <a:lnTo>
                    <a:pt x="190658" y="500585"/>
                  </a:lnTo>
                  <a:lnTo>
                    <a:pt x="210721" y="432638"/>
                  </a:lnTo>
                  <a:lnTo>
                    <a:pt x="23466" y="432638"/>
                  </a:lnTo>
                  <a:cubicBezTo>
                    <a:pt x="10560" y="432638"/>
                    <a:pt x="0" y="422211"/>
                    <a:pt x="0" y="409207"/>
                  </a:cubicBezTo>
                  <a:lnTo>
                    <a:pt x="0" y="23430"/>
                  </a:lnTo>
                  <a:cubicBezTo>
                    <a:pt x="0" y="10544"/>
                    <a:pt x="10560" y="0"/>
                    <a:pt x="23466" y="0"/>
                  </a:cubicBez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50" name="íṧļîḋê"/>
            <p:cNvSpPr txBox="1"/>
            <p:nvPr/>
          </p:nvSpPr>
          <p:spPr>
            <a:xfrm>
              <a:off x="4882717" y="4714289"/>
              <a:ext cx="7633209" cy="1311067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0000"/>
                </a:lnSpc>
                <a:spcBef>
                  <a:spcPts val="375"/>
                </a:spcBef>
                <a:defRPr/>
              </a:pPr>
              <a:r>
                <a:rPr lang="zh-CN" altLang="en-US" sz="2400" dirty="0"/>
                <a:t>盘块的回收</a:t>
              </a:r>
              <a:endParaRPr lang="en-US" altLang="zh-CN" sz="2400" dirty="0"/>
            </a:p>
            <a:p>
              <a:pPr marL="342900" indent="-342900">
                <a:lnSpc>
                  <a:spcPct val="120000"/>
                </a:lnSpc>
                <a:spcBef>
                  <a:spcPts val="375"/>
                </a:spcBef>
                <a:buClr>
                  <a:srgbClr val="C00000"/>
                </a:buClr>
                <a:buFont typeface="Wingdings" panose="05000000000000000000" pitchFamily="2" charset="2"/>
                <a:buChar char="Ø"/>
                <a:defRPr/>
              </a:pPr>
              <a:r>
                <a:rPr lang="zh-CN" altLang="en-US" sz="2200" dirty="0"/>
                <a:t>将回收盘块的盘块号</a:t>
              </a:r>
              <a:r>
                <a:rPr lang="en-US" altLang="zh-CN" sz="2200" dirty="0"/>
                <a:t>b</a:t>
              </a:r>
              <a:r>
                <a:rPr lang="zh-CN" altLang="en-US" sz="2200" dirty="0"/>
                <a:t>转换成位示图中的行号和列号：</a:t>
              </a:r>
            </a:p>
            <a:p>
              <a:pPr marL="800100" lvl="1" indent="-342900">
                <a:lnSpc>
                  <a:spcPct val="120000"/>
                </a:lnSpc>
                <a:spcBef>
                  <a:spcPts val="375"/>
                </a:spcBef>
                <a:buClr>
                  <a:srgbClr val="C00000"/>
                </a:buClr>
                <a:buFont typeface="Wingdings" panose="05000000000000000000" pitchFamily="2" charset="2"/>
                <a:buChar char="l"/>
                <a:defRPr/>
              </a:pPr>
              <a:r>
                <a:rPr lang="en-US" altLang="zh-CN" sz="2200" dirty="0" err="1">
                  <a:solidFill>
                    <a:srgbClr val="FF0000"/>
                  </a:solidFill>
                </a:rPr>
                <a:t>i</a:t>
              </a:r>
              <a:r>
                <a:rPr lang="en-US" altLang="zh-CN" sz="2200" dirty="0">
                  <a:solidFill>
                    <a:srgbClr val="FF0000"/>
                  </a:solidFill>
                </a:rPr>
                <a:t>=(b-1)div n+1   j=(b-1)mod n+1</a:t>
              </a:r>
            </a:p>
            <a:p>
              <a:pPr marL="342900" indent="-342900">
                <a:lnSpc>
                  <a:spcPct val="120000"/>
                </a:lnSpc>
                <a:spcBef>
                  <a:spcPts val="375"/>
                </a:spcBef>
                <a:buClr>
                  <a:srgbClr val="C00000"/>
                </a:buClr>
                <a:buFont typeface="Wingdings" panose="05000000000000000000" pitchFamily="2" charset="2"/>
                <a:buChar char="Ø"/>
                <a:defRPr/>
              </a:pPr>
              <a:r>
                <a:rPr lang="zh-CN" altLang="en-US" sz="2200" dirty="0"/>
                <a:t>修改位示图，令</a:t>
              </a:r>
              <a:r>
                <a:rPr lang="en-US" altLang="zh-CN" sz="2200" dirty="0"/>
                <a:t>map[</a:t>
              </a:r>
              <a:r>
                <a:rPr lang="en-US" altLang="zh-CN" sz="2200" dirty="0" err="1"/>
                <a:t>i,j</a:t>
              </a:r>
              <a:r>
                <a:rPr lang="en-US" altLang="zh-CN" sz="2200" dirty="0"/>
                <a:t>]=0</a:t>
              </a:r>
            </a:p>
          </p:txBody>
        </p:sp>
      </p:grp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B1218E-F919-DE57-5AF3-1FFF275635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>
            <a:extLst>
              <a:ext uri="{FF2B5EF4-FFF2-40B4-BE49-F238E27FC236}">
                <a16:creationId xmlns:a16="http://schemas.microsoft.com/office/drawing/2014/main" id="{C583C6A6-F3F6-C0B4-D835-71D3E329920D}"/>
              </a:ext>
            </a:extLst>
          </p:cNvPr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0C0B5273-0400-E263-FB72-F50D309248CD}"/>
              </a:ext>
            </a:extLst>
          </p:cNvPr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97450361-0E88-9770-DE3A-DB42B89E1566}"/>
              </a:ext>
            </a:extLst>
          </p:cNvPr>
          <p:cNvSpPr/>
          <p:nvPr/>
        </p:nvSpPr>
        <p:spPr>
          <a:xfrm>
            <a:off x="1696469" y="1476238"/>
            <a:ext cx="45001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  <a:ea typeface="+mj-ea"/>
              </a:rPr>
              <a:t>9.1 </a:t>
            </a:r>
            <a:r>
              <a:rPr lang="zh-CN" altLang="en-US" sz="2400" dirty="0">
                <a:latin typeface="+mj-ea"/>
                <a:ea typeface="+mj-ea"/>
              </a:rPr>
              <a:t>外存的组织方式</a:t>
            </a: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B30A9F69-7164-F8D5-E1E2-A0633E6CC16F}"/>
              </a:ext>
            </a:extLst>
          </p:cNvPr>
          <p:cNvSpPr/>
          <p:nvPr/>
        </p:nvSpPr>
        <p:spPr>
          <a:xfrm>
            <a:off x="1696469" y="2114413"/>
            <a:ext cx="36821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9.1.1 </a:t>
            </a:r>
            <a:r>
              <a:rPr lang="zh-CN" altLang="en-US" sz="2400" dirty="0">
                <a:latin typeface="+mj-ea"/>
              </a:rPr>
              <a:t>连续组织方式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F9D2496F-E521-018D-1B32-80C1B89B95C2}"/>
              </a:ext>
            </a:extLst>
          </p:cNvPr>
          <p:cNvSpPr/>
          <p:nvPr/>
        </p:nvSpPr>
        <p:spPr>
          <a:xfrm>
            <a:off x="1696468" y="2733538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9.1.2 </a:t>
            </a:r>
            <a:r>
              <a:rPr lang="zh-CN" altLang="en-US" sz="2400" dirty="0">
                <a:latin typeface="+mj-ea"/>
              </a:rPr>
              <a:t>链接组织方式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FF79875B-2353-C6E3-8084-10EF8A090060}"/>
              </a:ext>
            </a:extLst>
          </p:cNvPr>
          <p:cNvSpPr/>
          <p:nvPr/>
        </p:nvSpPr>
        <p:spPr>
          <a:xfrm>
            <a:off x="1696468" y="3352663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9.1.1 </a:t>
            </a:r>
            <a:r>
              <a:rPr lang="zh-CN" altLang="en-US" sz="2400" dirty="0">
                <a:latin typeface="+mj-ea"/>
              </a:rPr>
              <a:t>索引组织方式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BA24EDDD-776B-939C-1669-7D743813CB0D}"/>
              </a:ext>
            </a:extLst>
          </p:cNvPr>
          <p:cNvSpPr/>
          <p:nvPr/>
        </p:nvSpPr>
        <p:spPr>
          <a:xfrm>
            <a:off x="1696469" y="3971788"/>
            <a:ext cx="547877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9.2 </a:t>
            </a:r>
            <a:r>
              <a:rPr lang="zh-CN" altLang="en-US" sz="2400" dirty="0">
                <a:latin typeface="+mj-ea"/>
              </a:rPr>
              <a:t>文件存储空间的管理</a:t>
            </a: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7A76D55B-FE0F-3B34-482A-AF03D2F02AAD}"/>
              </a:ext>
            </a:extLst>
          </p:cNvPr>
          <p:cNvSpPr/>
          <p:nvPr/>
        </p:nvSpPr>
        <p:spPr>
          <a:xfrm>
            <a:off x="1696468" y="4590913"/>
            <a:ext cx="476964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0000FF"/>
                </a:solidFill>
                <a:latin typeface="+mj-ea"/>
              </a:rPr>
              <a:t>7.8 </a:t>
            </a:r>
            <a:r>
              <a:rPr lang="zh-CN" altLang="en-US" sz="2400" b="1" dirty="0">
                <a:solidFill>
                  <a:srgbClr val="0000FF"/>
                </a:solidFill>
                <a:latin typeface="+mj-ea"/>
              </a:rPr>
              <a:t>磁盘性能概述和磁盘调度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27643784-D435-4861-F5F7-7DFA15219B50}"/>
              </a:ext>
            </a:extLst>
          </p:cNvPr>
          <p:cNvSpPr/>
          <p:nvPr/>
        </p:nvSpPr>
        <p:spPr>
          <a:xfrm>
            <a:off x="6466113" y="2386337"/>
            <a:ext cx="519169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9</a:t>
            </a:r>
            <a:r>
              <a:rPr lang="zh-CN" altLang="en-US" sz="3600" dirty="0">
                <a:solidFill>
                  <a:srgbClr val="000000"/>
                </a:solidFill>
              </a:rPr>
              <a:t>章    磁盘存储器管理</a:t>
            </a:r>
            <a:endParaRPr lang="zh-CN" altLang="en-US" sz="3600" dirty="0"/>
          </a:p>
        </p:txBody>
      </p:sp>
      <p:cxnSp>
        <p:nvCxnSpPr>
          <p:cNvPr id="5" name="直接连接符 4">
            <a:extLst>
              <a:ext uri="{FF2B5EF4-FFF2-40B4-BE49-F238E27FC236}">
                <a16:creationId xmlns:a16="http://schemas.microsoft.com/office/drawing/2014/main" id="{2662CA8B-C4F7-4B55-A004-354219057F48}"/>
              </a:ext>
            </a:extLst>
          </p:cNvPr>
          <p:cNvCxnSpPr/>
          <p:nvPr/>
        </p:nvCxnSpPr>
        <p:spPr>
          <a:xfrm>
            <a:off x="6640497" y="3190471"/>
            <a:ext cx="490662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7">
            <a:extLst>
              <a:ext uri="{FF2B5EF4-FFF2-40B4-BE49-F238E27FC236}">
                <a16:creationId xmlns:a16="http://schemas.microsoft.com/office/drawing/2014/main" id="{60D5E015-992A-8C94-9C0A-512A74409996}"/>
              </a:ext>
            </a:extLst>
          </p:cNvPr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>
            <a:extLst>
              <a:ext uri="{FF2B5EF4-FFF2-40B4-BE49-F238E27FC236}">
                <a16:creationId xmlns:a16="http://schemas.microsoft.com/office/drawing/2014/main" id="{DCEA6522-F95E-737B-4FB1-2C9BEC7F9734}"/>
              </a:ext>
            </a:extLst>
          </p:cNvPr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>
            <a:extLst>
              <a:ext uri="{FF2B5EF4-FFF2-40B4-BE49-F238E27FC236}">
                <a16:creationId xmlns:a16="http://schemas.microsoft.com/office/drawing/2014/main" id="{568192C4-7812-2801-8309-4F8BC326C58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>
            <a:extLst>
              <a:ext uri="{FF2B5EF4-FFF2-40B4-BE49-F238E27FC236}">
                <a16:creationId xmlns:a16="http://schemas.microsoft.com/office/drawing/2014/main" id="{F219BA54-DD72-E484-3933-4EAE135678D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43922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>
            <a:extLst>
              <a:ext uri="{FF2B5EF4-FFF2-40B4-BE49-F238E27FC236}">
                <a16:creationId xmlns:a16="http://schemas.microsoft.com/office/drawing/2014/main" id="{BFD2A8DB-C7FC-DA68-039A-DF2016B7C69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02436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>
            <a:extLst>
              <a:ext uri="{FF2B5EF4-FFF2-40B4-BE49-F238E27FC236}">
                <a16:creationId xmlns:a16="http://schemas.microsoft.com/office/drawing/2014/main" id="{67F2C215-481E-69CD-090D-7613F8471EC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679837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>
            <a:extLst>
              <a:ext uri="{FF2B5EF4-FFF2-40B4-BE49-F238E27FC236}">
                <a16:creationId xmlns:a16="http://schemas.microsoft.com/office/drawing/2014/main" id="{7025CB40-FD46-059C-A179-DD91BDF0F9D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29831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2" name="图片 41">
            <a:extLst>
              <a:ext uri="{FF2B5EF4-FFF2-40B4-BE49-F238E27FC236}">
                <a16:creationId xmlns:a16="http://schemas.microsoft.com/office/drawing/2014/main" id="{619585C4-F2AE-65C9-60F2-D02894C1AE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92439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3" name="图片 42">
            <a:extLst>
              <a:ext uri="{FF2B5EF4-FFF2-40B4-BE49-F238E27FC236}">
                <a16:creationId xmlns:a16="http://schemas.microsoft.com/office/drawing/2014/main" id="{94E4F406-2939-89BE-6394-22626665AE8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56210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  <p:extLst>
      <p:ext uri="{BB962C8B-B14F-4D97-AF65-F5344CB8AC3E}">
        <p14:creationId xmlns:p14="http://schemas.microsoft.com/office/powerpoint/2010/main" val="368506109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7.8.1</a:t>
            </a:r>
            <a:r>
              <a:rPr lang="zh-CN" altLang="en-US" sz="2800" b="1" dirty="0">
                <a:solidFill>
                  <a:schemeClr val="bg1"/>
                </a:solidFill>
              </a:rPr>
              <a:t>磁盘性能简述</a:t>
            </a:r>
          </a:p>
        </p:txBody>
      </p:sp>
      <p:sp>
        <p:nvSpPr>
          <p:cNvPr id="3" name="îṧľîḋé"/>
          <p:cNvSpPr txBox="1"/>
          <p:nvPr/>
        </p:nvSpPr>
        <p:spPr>
          <a:xfrm>
            <a:off x="1107807" y="1177736"/>
            <a:ext cx="8507609" cy="599548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32000"/>
              </a:lnSpc>
            </a:pPr>
            <a:r>
              <a:rPr lang="zh-CN" altLang="en-US" sz="2400" dirty="0"/>
              <a:t>磁盘的结构</a:t>
            </a:r>
          </a:p>
        </p:txBody>
      </p:sp>
      <p:sp>
        <p:nvSpPr>
          <p:cNvPr id="4" name="îs1iďé"/>
          <p:cNvSpPr/>
          <p:nvPr/>
        </p:nvSpPr>
        <p:spPr>
          <a:xfrm>
            <a:off x="1107807" y="1868752"/>
            <a:ext cx="9711234" cy="40297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spcBef>
                <a:spcPts val="8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solidFill>
                  <a:srgbClr val="0000FF"/>
                </a:solidFill>
              </a:rPr>
              <a:t>盘面（磁头）</a:t>
            </a:r>
            <a:r>
              <a:rPr lang="zh-CN" altLang="en-US" sz="2400" dirty="0"/>
              <a:t>：磁盘设备可包含一或多个盘片，每个盘片分为一个或两个盘面，每个面上有一个读写磁头</a:t>
            </a:r>
          </a:p>
          <a:p>
            <a:pPr marL="342900" indent="-342900">
              <a:lnSpc>
                <a:spcPct val="120000"/>
              </a:lnSpc>
              <a:spcBef>
                <a:spcPts val="8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solidFill>
                  <a:srgbClr val="0000FF"/>
                </a:solidFill>
              </a:rPr>
              <a:t>磁道（柱面）</a:t>
            </a:r>
            <a:r>
              <a:rPr lang="zh-CN" altLang="en-US" sz="2400" dirty="0"/>
              <a:t>：每个盘面可分成若干条磁道</a:t>
            </a:r>
          </a:p>
          <a:p>
            <a:pPr marL="342900" indent="-342900">
              <a:lnSpc>
                <a:spcPct val="120000"/>
              </a:lnSpc>
              <a:spcBef>
                <a:spcPts val="8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solidFill>
                  <a:srgbClr val="0000FF"/>
                </a:solidFill>
              </a:rPr>
              <a:t>扇区</a:t>
            </a:r>
            <a:r>
              <a:rPr lang="zh-CN" altLang="en-US" sz="2400" dirty="0"/>
              <a:t>：每条磁道逻辑上分成若干个大小相同的扇区。每个扇区的大小相当于一个盘块（数据块）</a:t>
            </a:r>
          </a:p>
          <a:p>
            <a:pPr marL="342900" indent="-342900">
              <a:lnSpc>
                <a:spcPct val="120000"/>
              </a:lnSpc>
              <a:spcBef>
                <a:spcPts val="8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每条磁道上可存储相同数目的二进制位</a:t>
            </a:r>
          </a:p>
          <a:p>
            <a:pPr marL="342900" indent="-342900">
              <a:lnSpc>
                <a:spcPct val="120000"/>
              </a:lnSpc>
              <a:spcBef>
                <a:spcPts val="8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solidFill>
                  <a:srgbClr val="FF0000"/>
                </a:solidFill>
              </a:rPr>
              <a:t>磁盘密度</a:t>
            </a:r>
            <a:r>
              <a:rPr lang="zh-CN" altLang="en-US" sz="2400" dirty="0"/>
              <a:t>即每英寸中所存储的位数，显然是内层磁道的密度较外层磁道的密度高。</a:t>
            </a: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7.8.1</a:t>
            </a:r>
            <a:r>
              <a:rPr lang="zh-CN" altLang="en-US" sz="2800" b="1" dirty="0">
                <a:solidFill>
                  <a:schemeClr val="bg1"/>
                </a:solidFill>
              </a:rPr>
              <a:t>磁盘性能简述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5" y="1167129"/>
            <a:ext cx="4059287" cy="4960717"/>
          </a:xfrm>
          <a:prstGeom prst="rect">
            <a:avLst/>
          </a:prstGeom>
          <a:ln>
            <a:solidFill>
              <a:schemeClr val="accent1">
                <a:lumMod val="50000"/>
              </a:schemeClr>
            </a:solidFill>
          </a:ln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86154" y="1167129"/>
            <a:ext cx="6708407" cy="4960717"/>
          </a:xfrm>
          <a:prstGeom prst="rect">
            <a:avLst/>
          </a:prstGeom>
          <a:ln>
            <a:solidFill>
              <a:schemeClr val="accent1">
                <a:lumMod val="50000"/>
              </a:schemeClr>
            </a:solidFill>
          </a:ln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2" name="矩形 21"/>
          <p:cNvSpPr/>
          <p:nvPr/>
        </p:nvSpPr>
        <p:spPr>
          <a:xfrm>
            <a:off x="1696469" y="1476238"/>
            <a:ext cx="45001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0000FF"/>
                </a:solidFill>
                <a:latin typeface="+mj-ea"/>
                <a:ea typeface="+mj-ea"/>
              </a:rPr>
              <a:t>9.1 </a:t>
            </a:r>
            <a:r>
              <a:rPr lang="zh-CN" altLang="en-US" sz="2400" b="1" dirty="0">
                <a:solidFill>
                  <a:srgbClr val="0000FF"/>
                </a:solidFill>
                <a:latin typeface="+mj-ea"/>
                <a:ea typeface="+mj-ea"/>
              </a:rPr>
              <a:t>外存的组织方式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9" y="2114413"/>
            <a:ext cx="36821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9.1.1 </a:t>
            </a:r>
            <a:r>
              <a:rPr lang="zh-CN" altLang="en-US" sz="2400" dirty="0">
                <a:latin typeface="+mj-ea"/>
              </a:rPr>
              <a:t>连续组织方式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1696468" y="2733538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9.1.2 </a:t>
            </a:r>
            <a:r>
              <a:rPr lang="zh-CN" altLang="en-US" sz="2400" dirty="0">
                <a:latin typeface="+mj-ea"/>
              </a:rPr>
              <a:t>链接组织方式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1696468" y="3352663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9.1.1 </a:t>
            </a:r>
            <a:r>
              <a:rPr lang="zh-CN" altLang="en-US" sz="2400" dirty="0">
                <a:latin typeface="+mj-ea"/>
              </a:rPr>
              <a:t>索引组织方式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7" name="矩形 26"/>
          <p:cNvSpPr/>
          <p:nvPr/>
        </p:nvSpPr>
        <p:spPr>
          <a:xfrm>
            <a:off x="1696469" y="3971788"/>
            <a:ext cx="547877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9.2 </a:t>
            </a:r>
            <a:r>
              <a:rPr lang="zh-CN" altLang="en-US" sz="2400" dirty="0">
                <a:latin typeface="+mj-ea"/>
              </a:rPr>
              <a:t>文件存储空间的管理</a:t>
            </a:r>
          </a:p>
        </p:txBody>
      </p:sp>
      <p:sp>
        <p:nvSpPr>
          <p:cNvPr id="28" name="矩形 27"/>
          <p:cNvSpPr/>
          <p:nvPr/>
        </p:nvSpPr>
        <p:spPr>
          <a:xfrm>
            <a:off x="1696468" y="4590913"/>
            <a:ext cx="476964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7.8 </a:t>
            </a:r>
            <a:r>
              <a:rPr lang="zh-CN" altLang="en-US" sz="2400" dirty="0">
                <a:latin typeface="+mj-ea"/>
              </a:rPr>
              <a:t>磁盘性能概述和磁盘调度</a:t>
            </a:r>
          </a:p>
        </p:txBody>
      </p:sp>
      <p:sp>
        <p:nvSpPr>
          <p:cNvPr id="3" name="矩形 2"/>
          <p:cNvSpPr/>
          <p:nvPr/>
        </p:nvSpPr>
        <p:spPr>
          <a:xfrm>
            <a:off x="6466113" y="2386337"/>
            <a:ext cx="519169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9</a:t>
            </a:r>
            <a:r>
              <a:rPr lang="zh-CN" altLang="en-US" sz="3600" dirty="0">
                <a:solidFill>
                  <a:srgbClr val="000000"/>
                </a:solidFill>
              </a:rPr>
              <a:t>章    磁盘存储器管理</a:t>
            </a:r>
            <a:endParaRPr lang="zh-CN" altLang="en-US" sz="3600" dirty="0"/>
          </a:p>
        </p:txBody>
      </p:sp>
      <p:cxnSp>
        <p:nvCxnSpPr>
          <p:cNvPr id="5" name="直接连接符 4"/>
          <p:cNvCxnSpPr/>
          <p:nvPr/>
        </p:nvCxnSpPr>
        <p:spPr>
          <a:xfrm>
            <a:off x="6640497" y="3190471"/>
            <a:ext cx="490662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43922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02436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679837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29831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2" name="图片 4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92439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3" name="图片 4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56210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磁盘容量计算</a:t>
            </a:r>
          </a:p>
        </p:txBody>
      </p:sp>
      <p:sp>
        <p:nvSpPr>
          <p:cNvPr id="3" name="íšḻîḋè"/>
          <p:cNvSpPr/>
          <p:nvPr/>
        </p:nvSpPr>
        <p:spPr>
          <a:xfrm>
            <a:off x="1746844" y="2569382"/>
            <a:ext cx="7185122" cy="96252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/>
              <a:t>cylinder:19710</a:t>
            </a:r>
          </a:p>
          <a:p>
            <a:pPr marL="342900" indent="-342900">
              <a:lnSpc>
                <a:spcPct val="15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计算：</a:t>
            </a:r>
            <a:r>
              <a:rPr lang="en-US" altLang="zh-CN" sz="2200" dirty="0"/>
              <a:t>19710×255×16×512B=41173401600B=40GB</a:t>
            </a:r>
          </a:p>
        </p:txBody>
      </p:sp>
      <p:sp>
        <p:nvSpPr>
          <p:cNvPr id="4" name="i$lîďê"/>
          <p:cNvSpPr/>
          <p:nvPr/>
        </p:nvSpPr>
        <p:spPr>
          <a:xfrm>
            <a:off x="1802479" y="2138095"/>
            <a:ext cx="3696051" cy="39287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en-US" altLang="zh-CN" sz="2400" dirty="0">
                <a:sym typeface="Wingdings" panose="05000000000000000000" pitchFamily="2" charset="2"/>
              </a:rPr>
              <a:t>40GB</a:t>
            </a:r>
            <a:r>
              <a:rPr lang="zh-CN" altLang="en-US" sz="2400" dirty="0">
                <a:sym typeface="Wingdings" panose="05000000000000000000" pitchFamily="2" charset="2"/>
              </a:rPr>
              <a:t>硬盘</a:t>
            </a:r>
          </a:p>
        </p:txBody>
      </p:sp>
      <p:sp>
        <p:nvSpPr>
          <p:cNvPr id="5" name="î$ļíḋè"/>
          <p:cNvSpPr/>
          <p:nvPr/>
        </p:nvSpPr>
        <p:spPr>
          <a:xfrm>
            <a:off x="1802480" y="4371305"/>
            <a:ext cx="9840019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/>
              <a:t>Sides:2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/>
              <a:t>Tracks:80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/>
              <a:t>Sectors:18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计算：</a:t>
            </a:r>
            <a:r>
              <a:rPr lang="en-US" altLang="zh-CN" sz="2200" dirty="0"/>
              <a:t>2×80×18×512B=1.44MB</a:t>
            </a:r>
          </a:p>
        </p:txBody>
      </p:sp>
      <p:sp>
        <p:nvSpPr>
          <p:cNvPr id="6" name="ïṧḷïḋè"/>
          <p:cNvSpPr/>
          <p:nvPr/>
        </p:nvSpPr>
        <p:spPr>
          <a:xfrm>
            <a:off x="1802481" y="3858530"/>
            <a:ext cx="3696051" cy="41510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en-US" altLang="zh-CN" sz="2400" dirty="0">
                <a:sym typeface="Wingdings" panose="05000000000000000000" pitchFamily="2" charset="2"/>
              </a:rPr>
              <a:t>1.44MB</a:t>
            </a:r>
            <a:r>
              <a:rPr lang="zh-CN" altLang="en-US" sz="2400" dirty="0">
                <a:sym typeface="Wingdings" panose="05000000000000000000" pitchFamily="2" charset="2"/>
              </a:rPr>
              <a:t>软盘</a:t>
            </a:r>
          </a:p>
        </p:txBody>
      </p:sp>
      <p:sp>
        <p:nvSpPr>
          <p:cNvPr id="8" name="íšḻíḑê"/>
          <p:cNvSpPr/>
          <p:nvPr/>
        </p:nvSpPr>
        <p:spPr>
          <a:xfrm>
            <a:off x="1802480" y="1297161"/>
            <a:ext cx="6697576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solidFill>
                  <a:srgbClr val="0000FF"/>
                </a:solidFill>
              </a:rPr>
              <a:t>容量</a:t>
            </a:r>
            <a:r>
              <a:rPr lang="en-US" altLang="zh-CN" sz="2400" dirty="0">
                <a:solidFill>
                  <a:srgbClr val="0000FF"/>
                </a:solidFill>
              </a:rPr>
              <a:t>=</a:t>
            </a:r>
            <a:r>
              <a:rPr lang="zh-CN" altLang="en-US" sz="2400" dirty="0">
                <a:solidFill>
                  <a:srgbClr val="0000FF"/>
                </a:solidFill>
              </a:rPr>
              <a:t>柱面×磁头</a:t>
            </a:r>
            <a:r>
              <a:rPr lang="zh-CN" altLang="en-US" sz="2400" dirty="0">
                <a:solidFill>
                  <a:srgbClr val="0000FF"/>
                </a:solidFill>
                <a:sym typeface="+mn-ea"/>
              </a:rPr>
              <a:t>×</a:t>
            </a:r>
            <a:r>
              <a:rPr lang="zh-CN" altLang="en-US" sz="2400" dirty="0">
                <a:solidFill>
                  <a:srgbClr val="0000FF"/>
                </a:solidFill>
              </a:rPr>
              <a:t>扇区</a:t>
            </a:r>
            <a:r>
              <a:rPr lang="zh-CN" altLang="en-US" sz="2400" dirty="0"/>
              <a:t>，每扇区存放</a:t>
            </a:r>
            <a:r>
              <a:rPr lang="en-US" altLang="zh-CN" sz="2400" dirty="0">
                <a:solidFill>
                  <a:srgbClr val="FF0000"/>
                </a:solidFill>
              </a:rPr>
              <a:t>512B</a:t>
            </a:r>
            <a:r>
              <a:rPr lang="zh-CN" altLang="en-US" sz="2400" dirty="0"/>
              <a:t>数据</a:t>
            </a:r>
            <a:endParaRPr lang="en-US" altLang="zh-CN" sz="2400" dirty="0"/>
          </a:p>
        </p:txBody>
      </p:sp>
      <p:sp>
        <p:nvSpPr>
          <p:cNvPr id="9" name="îSļiḓè"/>
          <p:cNvSpPr/>
          <p:nvPr/>
        </p:nvSpPr>
        <p:spPr>
          <a:xfrm>
            <a:off x="1118977" y="1180567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0" name="íṥḻîḓe"/>
          <p:cNvSpPr/>
          <p:nvPr/>
        </p:nvSpPr>
        <p:spPr>
          <a:xfrm>
            <a:off x="1118977" y="3775928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1" name="îşļiḓè"/>
          <p:cNvSpPr/>
          <p:nvPr/>
        </p:nvSpPr>
        <p:spPr>
          <a:xfrm>
            <a:off x="1118977" y="2037569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ṡḷíďe"/>
          <p:cNvSpPr/>
          <p:nvPr/>
        </p:nvSpPr>
        <p:spPr>
          <a:xfrm>
            <a:off x="1309232" y="1376705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3" name="íSlíḋe"/>
          <p:cNvSpPr/>
          <p:nvPr/>
        </p:nvSpPr>
        <p:spPr>
          <a:xfrm>
            <a:off x="1309231" y="2259586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4" name="ïśḷïḓe"/>
          <p:cNvSpPr/>
          <p:nvPr/>
        </p:nvSpPr>
        <p:spPr>
          <a:xfrm>
            <a:off x="1338170" y="3965388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íšḻîḋè"/>
          <p:cNvSpPr/>
          <p:nvPr/>
        </p:nvSpPr>
        <p:spPr>
          <a:xfrm>
            <a:off x="7114309" y="2591739"/>
            <a:ext cx="1965297" cy="5127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/>
              <a:t>sector:255</a:t>
            </a:r>
          </a:p>
        </p:txBody>
      </p:sp>
      <p:sp>
        <p:nvSpPr>
          <p:cNvPr id="16" name="íšḻîḋè"/>
          <p:cNvSpPr/>
          <p:nvPr/>
        </p:nvSpPr>
        <p:spPr>
          <a:xfrm>
            <a:off x="4757192" y="2591739"/>
            <a:ext cx="1965297" cy="5127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/>
              <a:t>head:16</a:t>
            </a: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数据的组织和格式</a:t>
            </a:r>
          </a:p>
        </p:txBody>
      </p:sp>
      <p:sp>
        <p:nvSpPr>
          <p:cNvPr id="31" name="i$lîďê"/>
          <p:cNvSpPr/>
          <p:nvPr/>
        </p:nvSpPr>
        <p:spPr>
          <a:xfrm>
            <a:off x="1802479" y="2138095"/>
            <a:ext cx="9840020" cy="746773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pPr>
              <a:lnSpc>
                <a:spcPct val="132000"/>
              </a:lnSpc>
            </a:pPr>
            <a:r>
              <a:rPr lang="zh-CN" altLang="en-US" sz="2400" dirty="0">
                <a:sym typeface="Wingdings" panose="05000000000000000000" pitchFamily="2" charset="2"/>
              </a:rPr>
              <a:t>如每条磁道含有</a:t>
            </a:r>
            <a:r>
              <a:rPr lang="en-US" altLang="zh-CN" sz="2400" dirty="0">
                <a:sym typeface="Wingdings" panose="05000000000000000000" pitchFamily="2" charset="2"/>
              </a:rPr>
              <a:t>30</a:t>
            </a:r>
            <a:r>
              <a:rPr lang="zh-CN" altLang="en-US" sz="2400" dirty="0">
                <a:sym typeface="Wingdings" panose="05000000000000000000" pitchFamily="2" charset="2"/>
              </a:rPr>
              <a:t>个固定大小的扇区，每个扇区容量为</a:t>
            </a:r>
            <a:r>
              <a:rPr lang="en-US" altLang="zh-CN" sz="2400" dirty="0">
                <a:sym typeface="Wingdings" panose="05000000000000000000" pitchFamily="2" charset="2"/>
              </a:rPr>
              <a:t>600</a:t>
            </a:r>
            <a:r>
              <a:rPr lang="zh-CN" altLang="en-US" sz="2400" dirty="0">
                <a:sym typeface="Wingdings" panose="05000000000000000000" pitchFamily="2" charset="2"/>
              </a:rPr>
              <a:t>个字节，其中</a:t>
            </a:r>
            <a:r>
              <a:rPr lang="en-US" altLang="zh-CN" sz="2400" dirty="0">
                <a:sym typeface="Wingdings" panose="05000000000000000000" pitchFamily="2" charset="2"/>
              </a:rPr>
              <a:t>512</a:t>
            </a:r>
            <a:r>
              <a:rPr lang="zh-CN" altLang="en-US" sz="2400" dirty="0">
                <a:sym typeface="Wingdings" panose="05000000000000000000" pitchFamily="2" charset="2"/>
              </a:rPr>
              <a:t>个字节存放数据，其余的用于存放控制信息</a:t>
            </a:r>
          </a:p>
        </p:txBody>
      </p:sp>
      <p:sp>
        <p:nvSpPr>
          <p:cNvPr id="32" name="î$ļíḋè"/>
          <p:cNvSpPr/>
          <p:nvPr/>
        </p:nvSpPr>
        <p:spPr>
          <a:xfrm>
            <a:off x="1802479" y="3897104"/>
            <a:ext cx="9840019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0000FF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solidFill>
                  <a:srgbClr val="0000FF"/>
                </a:solidFill>
              </a:rPr>
              <a:t>标识符字段</a:t>
            </a:r>
            <a:r>
              <a:rPr lang="zh-CN" altLang="en-US" sz="2200" dirty="0"/>
              <a:t>：其中一个字节的</a:t>
            </a:r>
            <a:r>
              <a:rPr lang="en-US" altLang="zh-CN" sz="2200" dirty="0"/>
              <a:t>SYNCH</a:t>
            </a:r>
            <a:r>
              <a:rPr lang="zh-CN" altLang="en-US" sz="2200" dirty="0"/>
              <a:t>具有特定的位图像，作为该字段的定界符，利用磁道号、磁头号及扇区号三者来标识一个扇区；</a:t>
            </a:r>
            <a:r>
              <a:rPr lang="en-US" altLang="zh-CN" sz="2200" dirty="0"/>
              <a:t>CRC</a:t>
            </a:r>
            <a:r>
              <a:rPr lang="zh-CN" altLang="en-US" sz="2200" dirty="0"/>
              <a:t>字段用于段校验</a:t>
            </a:r>
          </a:p>
          <a:p>
            <a:pPr marL="342900" indent="-342900">
              <a:lnSpc>
                <a:spcPct val="120000"/>
              </a:lnSpc>
              <a:buClr>
                <a:srgbClr val="0000FF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solidFill>
                  <a:srgbClr val="0000FF"/>
                </a:solidFill>
              </a:rPr>
              <a:t>数据字段</a:t>
            </a:r>
            <a:r>
              <a:rPr lang="zh-CN" altLang="en-US" sz="2200" dirty="0"/>
              <a:t>：存放</a:t>
            </a:r>
            <a:r>
              <a:rPr lang="en-US" altLang="zh-CN" sz="2200" dirty="0"/>
              <a:t>512</a:t>
            </a:r>
            <a:r>
              <a:rPr lang="zh-CN" altLang="en-US" sz="2200" dirty="0"/>
              <a:t>个字节的数据</a:t>
            </a:r>
          </a:p>
        </p:txBody>
      </p:sp>
      <p:sp>
        <p:nvSpPr>
          <p:cNvPr id="33" name="ïṧḷïḋè"/>
          <p:cNvSpPr/>
          <p:nvPr/>
        </p:nvSpPr>
        <p:spPr>
          <a:xfrm>
            <a:off x="1802480" y="3384329"/>
            <a:ext cx="3696051" cy="41510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sym typeface="Wingdings" panose="05000000000000000000" pitchFamily="2" charset="2"/>
              </a:rPr>
              <a:t>每个扇区包括</a:t>
            </a:r>
            <a:r>
              <a:rPr lang="en-US" altLang="zh-CN" sz="2400" dirty="0">
                <a:solidFill>
                  <a:srgbClr val="FF0000"/>
                </a:solidFill>
                <a:sym typeface="Wingdings" panose="05000000000000000000" pitchFamily="2" charset="2"/>
              </a:rPr>
              <a:t>2</a:t>
            </a:r>
            <a:r>
              <a:rPr lang="zh-CN" altLang="en-US" sz="2400" dirty="0">
                <a:solidFill>
                  <a:srgbClr val="FF0000"/>
                </a:solidFill>
                <a:sym typeface="Wingdings" panose="05000000000000000000" pitchFamily="2" charset="2"/>
              </a:rPr>
              <a:t>个字段</a:t>
            </a:r>
            <a:r>
              <a:rPr lang="zh-CN" altLang="en-US" sz="2400" dirty="0">
                <a:sym typeface="Wingdings" panose="05000000000000000000" pitchFamily="2" charset="2"/>
              </a:rPr>
              <a:t>：</a:t>
            </a:r>
          </a:p>
        </p:txBody>
      </p:sp>
      <p:sp>
        <p:nvSpPr>
          <p:cNvPr id="34" name="íšḻíḑê"/>
          <p:cNvSpPr/>
          <p:nvPr/>
        </p:nvSpPr>
        <p:spPr>
          <a:xfrm>
            <a:off x="1802480" y="1297161"/>
            <a:ext cx="6697576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sym typeface="Wingdings" panose="05000000000000000000" pitchFamily="2" charset="2"/>
              </a:rPr>
              <a:t>为了在磁盘上存储数据，必须先将磁盘格式化</a:t>
            </a:r>
          </a:p>
        </p:txBody>
      </p:sp>
      <p:sp>
        <p:nvSpPr>
          <p:cNvPr id="35" name="îSļiḓè"/>
          <p:cNvSpPr/>
          <p:nvPr/>
        </p:nvSpPr>
        <p:spPr>
          <a:xfrm>
            <a:off x="1118977" y="1180567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36" name="íṥḻîḓe"/>
          <p:cNvSpPr/>
          <p:nvPr/>
        </p:nvSpPr>
        <p:spPr>
          <a:xfrm>
            <a:off x="1118976" y="3301727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37" name="îşļiḓè"/>
          <p:cNvSpPr/>
          <p:nvPr/>
        </p:nvSpPr>
        <p:spPr>
          <a:xfrm>
            <a:off x="1118977" y="2037569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38" name="îṡḷíďe"/>
          <p:cNvSpPr/>
          <p:nvPr/>
        </p:nvSpPr>
        <p:spPr>
          <a:xfrm>
            <a:off x="1309232" y="1376705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39" name="íSlíḋe"/>
          <p:cNvSpPr/>
          <p:nvPr/>
        </p:nvSpPr>
        <p:spPr>
          <a:xfrm>
            <a:off x="1309231" y="2259586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40" name="ïśḷïḓe"/>
          <p:cNvSpPr/>
          <p:nvPr/>
        </p:nvSpPr>
        <p:spPr>
          <a:xfrm>
            <a:off x="1338169" y="3491187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磁盘的格式化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54548" y="1556147"/>
            <a:ext cx="12221145" cy="4097678"/>
          </a:xfrm>
          <a:prstGeom prst="rect">
            <a:avLst/>
          </a:prstGeom>
        </p:spPr>
      </p:pic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磁盘的类型</a:t>
            </a:r>
          </a:p>
        </p:txBody>
      </p:sp>
      <p:sp>
        <p:nvSpPr>
          <p:cNvPr id="3" name="内容占位符 2"/>
          <p:cNvSpPr txBox="1"/>
          <p:nvPr/>
        </p:nvSpPr>
        <p:spPr>
          <a:xfrm>
            <a:off x="1300767" y="1139017"/>
            <a:ext cx="9646275" cy="531329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zh-CN" altLang="en-US" sz="2400" dirty="0">
                <a:solidFill>
                  <a:srgbClr val="FF0000"/>
                </a:solidFill>
                <a:latin typeface="+mn-ea"/>
                <a:sym typeface="Wingdings" panose="05000000000000000000" pitchFamily="2" charset="2"/>
              </a:rPr>
              <a:t>分类</a:t>
            </a:r>
            <a:r>
              <a:rPr lang="en-US" altLang="zh-CN" sz="2400" dirty="0">
                <a:solidFill>
                  <a:srgbClr val="FF0000"/>
                </a:solidFill>
                <a:latin typeface="+mn-ea"/>
                <a:sym typeface="Wingdings" panose="05000000000000000000" pitchFamily="2" charset="2"/>
              </a:rPr>
              <a:t>1</a:t>
            </a:r>
          </a:p>
          <a:p>
            <a:pPr lvl="1" indent="-360045"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n"/>
            </a:pPr>
            <a:r>
              <a:rPr lang="zh-CN" altLang="en-US" sz="2400" dirty="0">
                <a:latin typeface="+mn-ea"/>
                <a:sym typeface="Wingdings" panose="05000000000000000000" pitchFamily="2" charset="2"/>
              </a:rPr>
              <a:t>硬盘、软盘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zh-CN" altLang="en-US" sz="2400" dirty="0">
                <a:solidFill>
                  <a:srgbClr val="FF0000"/>
                </a:solidFill>
                <a:latin typeface="+mn-ea"/>
                <a:sym typeface="Wingdings" panose="05000000000000000000" pitchFamily="2" charset="2"/>
              </a:rPr>
              <a:t>分类</a:t>
            </a:r>
            <a:r>
              <a:rPr lang="en-US" altLang="zh-CN" sz="2400" dirty="0">
                <a:solidFill>
                  <a:srgbClr val="FF0000"/>
                </a:solidFill>
                <a:latin typeface="+mn-ea"/>
                <a:sym typeface="Wingdings" panose="05000000000000000000" pitchFamily="2" charset="2"/>
              </a:rPr>
              <a:t>2</a:t>
            </a:r>
          </a:p>
          <a:p>
            <a:pPr lvl="1" indent="-360045"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n"/>
            </a:pPr>
            <a:r>
              <a:rPr lang="zh-CN" altLang="en-US" sz="2400" dirty="0">
                <a:latin typeface="+mn-ea"/>
                <a:sym typeface="Wingdings" panose="05000000000000000000" pitchFamily="2" charset="2"/>
              </a:rPr>
              <a:t>单片盘、多片盘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zh-CN" altLang="en-US" sz="2400" dirty="0">
                <a:solidFill>
                  <a:srgbClr val="FF0000"/>
                </a:solidFill>
                <a:latin typeface="+mn-ea"/>
                <a:sym typeface="Wingdings" panose="05000000000000000000" pitchFamily="2" charset="2"/>
              </a:rPr>
              <a:t>分类</a:t>
            </a:r>
            <a:r>
              <a:rPr lang="en-US" altLang="zh-CN" sz="2400" dirty="0">
                <a:solidFill>
                  <a:srgbClr val="FF0000"/>
                </a:solidFill>
                <a:latin typeface="+mn-ea"/>
                <a:sym typeface="Wingdings" panose="05000000000000000000" pitchFamily="2" charset="2"/>
              </a:rPr>
              <a:t>3</a:t>
            </a:r>
          </a:p>
          <a:p>
            <a:pPr lvl="1" indent="-360045"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n"/>
            </a:pPr>
            <a:r>
              <a:rPr lang="zh-CN" altLang="en-US" sz="2400" dirty="0">
                <a:latin typeface="+mn-ea"/>
                <a:sym typeface="Wingdings" panose="05000000000000000000" pitchFamily="2" charset="2"/>
              </a:rPr>
              <a:t>固定头磁盘：每个磁道上都有一个读写磁头</a:t>
            </a:r>
            <a:endParaRPr lang="en-US" altLang="zh-CN" sz="2400" dirty="0">
              <a:latin typeface="+mn-ea"/>
              <a:sym typeface="Wingdings" panose="05000000000000000000" pitchFamily="2" charset="2"/>
            </a:endParaRPr>
          </a:p>
          <a:p>
            <a:pPr lvl="2" indent="-360045"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latin typeface="+mn-ea"/>
                <a:sym typeface="Wingdings" panose="05000000000000000000" pitchFamily="2" charset="2"/>
              </a:rPr>
              <a:t>并行方式读</a:t>
            </a:r>
            <a:r>
              <a:rPr lang="en-US" altLang="zh-CN" sz="2200" dirty="0">
                <a:latin typeface="+mn-ea"/>
                <a:sym typeface="Wingdings" panose="05000000000000000000" pitchFamily="2" charset="2"/>
              </a:rPr>
              <a:t>/</a:t>
            </a:r>
            <a:r>
              <a:rPr lang="zh-CN" altLang="en-US" sz="2200" dirty="0">
                <a:latin typeface="+mn-ea"/>
                <a:sym typeface="Wingdings" panose="05000000000000000000" pitchFamily="2" charset="2"/>
              </a:rPr>
              <a:t>写，有效提高磁盘的</a:t>
            </a:r>
            <a:r>
              <a:rPr lang="en-US" altLang="zh-CN" sz="2200" dirty="0">
                <a:latin typeface="+mn-ea"/>
                <a:sym typeface="Wingdings" panose="05000000000000000000" pitchFamily="2" charset="2"/>
              </a:rPr>
              <a:t>I/O</a:t>
            </a:r>
            <a:r>
              <a:rPr lang="zh-CN" altLang="en-US" sz="2200" dirty="0">
                <a:latin typeface="+mn-ea"/>
                <a:sym typeface="Wingdings" panose="05000000000000000000" pitchFamily="2" charset="2"/>
              </a:rPr>
              <a:t>速度</a:t>
            </a:r>
            <a:endParaRPr lang="en-US" altLang="zh-CN" sz="2200" dirty="0">
              <a:latin typeface="+mn-ea"/>
              <a:sym typeface="Wingdings" panose="05000000000000000000" pitchFamily="2" charset="2"/>
            </a:endParaRPr>
          </a:p>
          <a:p>
            <a:pPr lvl="2" indent="-360045"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latin typeface="+mn-ea"/>
                <a:sym typeface="Wingdings" panose="05000000000000000000" pitchFamily="2" charset="2"/>
              </a:rPr>
              <a:t>主要用于大容量磁盘</a:t>
            </a:r>
          </a:p>
          <a:p>
            <a:pPr lvl="1" indent="-360045"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n"/>
            </a:pPr>
            <a:r>
              <a:rPr lang="zh-CN" altLang="en-US" sz="2400" dirty="0">
                <a:latin typeface="+mn-ea"/>
                <a:sym typeface="Wingdings" panose="05000000000000000000" pitchFamily="2" charset="2"/>
              </a:rPr>
              <a:t>移动头磁盘：每个盘面仅配有一个磁头，能移动寻道</a:t>
            </a:r>
            <a:endParaRPr lang="en-US" altLang="zh-CN" sz="2400" dirty="0">
              <a:latin typeface="+mn-ea"/>
              <a:sym typeface="Wingdings" panose="05000000000000000000" pitchFamily="2" charset="2"/>
            </a:endParaRPr>
          </a:p>
          <a:p>
            <a:pPr lvl="2" indent="-360045"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latin typeface="+mn-ea"/>
                <a:sym typeface="Wingdings" panose="05000000000000000000" pitchFamily="2" charset="2"/>
              </a:rPr>
              <a:t>串行方式读</a:t>
            </a:r>
            <a:r>
              <a:rPr lang="en-US" altLang="zh-CN" sz="2200" dirty="0">
                <a:latin typeface="+mn-ea"/>
                <a:sym typeface="Wingdings" panose="05000000000000000000" pitchFamily="2" charset="2"/>
              </a:rPr>
              <a:t>/</a:t>
            </a:r>
            <a:r>
              <a:rPr lang="zh-CN" altLang="en-US" sz="2200" dirty="0">
                <a:latin typeface="+mn-ea"/>
                <a:sym typeface="Wingdings" panose="05000000000000000000" pitchFamily="2" charset="2"/>
              </a:rPr>
              <a:t>写，</a:t>
            </a:r>
            <a:r>
              <a:rPr lang="en-US" altLang="zh-CN" sz="2200" dirty="0">
                <a:latin typeface="+mn-ea"/>
                <a:sym typeface="Wingdings" panose="05000000000000000000" pitchFamily="2" charset="2"/>
              </a:rPr>
              <a:t>I/O</a:t>
            </a:r>
            <a:r>
              <a:rPr lang="zh-CN" altLang="en-US" sz="2200" dirty="0">
                <a:latin typeface="+mn-ea"/>
                <a:sym typeface="Wingdings" panose="05000000000000000000" pitchFamily="2" charset="2"/>
              </a:rPr>
              <a:t>速度较慢</a:t>
            </a:r>
            <a:endParaRPr lang="en-US" altLang="zh-CN" sz="2200" dirty="0">
              <a:latin typeface="+mn-ea"/>
              <a:sym typeface="Wingdings" panose="05000000000000000000" pitchFamily="2" charset="2"/>
            </a:endParaRPr>
          </a:p>
          <a:p>
            <a:pPr lvl="2" indent="-360045"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latin typeface="+mn-ea"/>
                <a:sym typeface="Wingdings" panose="05000000000000000000" pitchFamily="2" charset="2"/>
              </a:rPr>
              <a:t>广泛应用于中、小型磁盘设备中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925" y="1139017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925" y="1939671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925" y="3021497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磁盘访问时间</a:t>
            </a:r>
          </a:p>
        </p:txBody>
      </p:sp>
      <p:sp>
        <p:nvSpPr>
          <p:cNvPr id="3" name="íšḻîḋè"/>
          <p:cNvSpPr/>
          <p:nvPr/>
        </p:nvSpPr>
        <p:spPr>
          <a:xfrm>
            <a:off x="2157848" y="2798009"/>
            <a:ext cx="8808790" cy="156538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磁头必须移动到所要求的磁道上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等待所指定的扇区的开始位置旋转到磁头下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开始读写数据</a:t>
            </a:r>
          </a:p>
        </p:txBody>
      </p:sp>
      <p:sp>
        <p:nvSpPr>
          <p:cNvPr id="4" name="i$lîďê"/>
          <p:cNvSpPr/>
          <p:nvPr/>
        </p:nvSpPr>
        <p:spPr>
          <a:xfrm>
            <a:off x="2157849" y="2357561"/>
            <a:ext cx="3696051" cy="39287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zh-CN" altLang="en-US" sz="2400" dirty="0">
                <a:sym typeface="Wingdings" panose="05000000000000000000" pitchFamily="2" charset="2"/>
              </a:rPr>
              <a:t>为了读写</a:t>
            </a:r>
          </a:p>
        </p:txBody>
      </p:sp>
      <p:sp>
        <p:nvSpPr>
          <p:cNvPr id="5" name="î$ļíḋè"/>
          <p:cNvSpPr/>
          <p:nvPr/>
        </p:nvSpPr>
        <p:spPr>
          <a:xfrm>
            <a:off x="3336913" y="5006342"/>
            <a:ext cx="2257252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solidFill>
                  <a:srgbClr val="FF0000"/>
                </a:solidFill>
              </a:rPr>
              <a:t>寻道时间</a:t>
            </a:r>
          </a:p>
        </p:txBody>
      </p:sp>
      <p:sp>
        <p:nvSpPr>
          <p:cNvPr id="6" name="ïṧḷïḋè"/>
          <p:cNvSpPr/>
          <p:nvPr/>
        </p:nvSpPr>
        <p:spPr>
          <a:xfrm>
            <a:off x="3336913" y="4493567"/>
            <a:ext cx="3696051" cy="41510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zh-CN" altLang="en-US" sz="2400" dirty="0">
                <a:sym typeface="Wingdings" panose="05000000000000000000" pitchFamily="2" charset="2"/>
              </a:rPr>
              <a:t>磁盘的访问时间</a:t>
            </a:r>
          </a:p>
        </p:txBody>
      </p:sp>
      <p:sp>
        <p:nvSpPr>
          <p:cNvPr id="8" name="íšḻíḑê"/>
          <p:cNvSpPr/>
          <p:nvPr/>
        </p:nvSpPr>
        <p:spPr>
          <a:xfrm>
            <a:off x="1590527" y="1486893"/>
            <a:ext cx="4894533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zh-CN" altLang="en-US" sz="2400" dirty="0">
                <a:sym typeface="Wingdings" panose="05000000000000000000" pitchFamily="2" charset="2"/>
              </a:rPr>
              <a:t>磁盘在工作时是以恒定速率旋转。</a:t>
            </a:r>
          </a:p>
        </p:txBody>
      </p:sp>
      <p:sp>
        <p:nvSpPr>
          <p:cNvPr id="9" name="îSļiḓè"/>
          <p:cNvSpPr/>
          <p:nvPr/>
        </p:nvSpPr>
        <p:spPr>
          <a:xfrm>
            <a:off x="822764" y="1376545"/>
            <a:ext cx="627867" cy="627867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0" name="íṥḻîḓe"/>
          <p:cNvSpPr/>
          <p:nvPr/>
        </p:nvSpPr>
        <p:spPr>
          <a:xfrm>
            <a:off x="2653409" y="4410965"/>
            <a:ext cx="627867" cy="627867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1" name="îşļiḓè"/>
          <p:cNvSpPr/>
          <p:nvPr/>
        </p:nvSpPr>
        <p:spPr>
          <a:xfrm>
            <a:off x="1474347" y="2347188"/>
            <a:ext cx="627867" cy="627867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ṡḷíďe"/>
          <p:cNvSpPr/>
          <p:nvPr/>
        </p:nvSpPr>
        <p:spPr>
          <a:xfrm>
            <a:off x="1013019" y="1572683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3" name="íSlíḋe"/>
          <p:cNvSpPr/>
          <p:nvPr/>
        </p:nvSpPr>
        <p:spPr>
          <a:xfrm>
            <a:off x="1664601" y="2569205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4" name="ïśḷïḓe"/>
          <p:cNvSpPr/>
          <p:nvPr/>
        </p:nvSpPr>
        <p:spPr>
          <a:xfrm>
            <a:off x="2872602" y="4600425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î$ļíḋè"/>
          <p:cNvSpPr/>
          <p:nvPr/>
        </p:nvSpPr>
        <p:spPr>
          <a:xfrm>
            <a:off x="5397532" y="5006342"/>
            <a:ext cx="2466094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solidFill>
                  <a:srgbClr val="FF0000"/>
                </a:solidFill>
              </a:rPr>
              <a:t>旋转延迟时间</a:t>
            </a:r>
          </a:p>
        </p:txBody>
      </p:sp>
      <p:sp>
        <p:nvSpPr>
          <p:cNvPr id="16" name="î$ļíḋè"/>
          <p:cNvSpPr/>
          <p:nvPr/>
        </p:nvSpPr>
        <p:spPr>
          <a:xfrm>
            <a:off x="7917898" y="5038832"/>
            <a:ext cx="2006347" cy="49148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solidFill>
                  <a:srgbClr val="FF0000"/>
                </a:solidFill>
              </a:rPr>
              <a:t>传输时间</a:t>
            </a: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寻道时间</a:t>
            </a:r>
            <a:r>
              <a:rPr lang="en-US" altLang="zh-CN" sz="2800" b="1" dirty="0" err="1">
                <a:solidFill>
                  <a:schemeClr val="bg1"/>
                </a:solidFill>
              </a:rPr>
              <a:t>Ts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3" name="iṥlídè"/>
          <p:cNvSpPr/>
          <p:nvPr/>
        </p:nvSpPr>
        <p:spPr>
          <a:xfrm>
            <a:off x="6958245" y="1128057"/>
            <a:ext cx="5233755" cy="5008286"/>
          </a:xfrm>
          <a:prstGeom prst="rect">
            <a:avLst/>
          </a:prstGeom>
          <a:blipFill>
            <a:blip r:embed="rId2"/>
            <a:stretch>
              <a:fillRect t="-27413" b="-27272"/>
            </a:stretch>
          </a:blipFill>
          <a:ln w="28575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lang="zh-CN" altLang="en-US" dirty="0"/>
          </a:p>
        </p:txBody>
      </p:sp>
      <p:grpSp>
        <p:nvGrpSpPr>
          <p:cNvPr id="4" name="iṡļiḓe"/>
          <p:cNvGrpSpPr/>
          <p:nvPr/>
        </p:nvGrpSpPr>
        <p:grpSpPr>
          <a:xfrm>
            <a:off x="660400" y="1298467"/>
            <a:ext cx="5753279" cy="2167009"/>
            <a:chOff x="660400" y="1787149"/>
            <a:chExt cx="5753279" cy="2167009"/>
          </a:xfrm>
        </p:grpSpPr>
        <p:grpSp>
          <p:nvGrpSpPr>
            <p:cNvPr id="5" name="iSḻíḓè"/>
            <p:cNvGrpSpPr/>
            <p:nvPr/>
          </p:nvGrpSpPr>
          <p:grpSpPr>
            <a:xfrm>
              <a:off x="1296567" y="1835355"/>
              <a:ext cx="5117112" cy="2118803"/>
              <a:chOff x="1296567" y="1835355"/>
              <a:chExt cx="6453960" cy="2118803"/>
            </a:xfrm>
          </p:grpSpPr>
          <p:sp>
            <p:nvSpPr>
              <p:cNvPr id="9" name="îṧľîḋé"/>
              <p:cNvSpPr txBox="1"/>
              <p:nvPr/>
            </p:nvSpPr>
            <p:spPr>
              <a:xfrm>
                <a:off x="1296567" y="1835355"/>
                <a:ext cx="6293555" cy="712232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r>
                  <a:rPr lang="zh-CN" altLang="en-US" sz="2400" dirty="0"/>
                  <a:t>把磁臂（磁头）移动到指定磁道上所经历的时间。</a:t>
                </a:r>
              </a:p>
            </p:txBody>
          </p:sp>
          <p:sp>
            <p:nvSpPr>
              <p:cNvPr id="10" name="íşļîḓé"/>
              <p:cNvSpPr/>
              <p:nvPr/>
            </p:nvSpPr>
            <p:spPr bwMode="auto">
              <a:xfrm>
                <a:off x="1296567" y="2601519"/>
                <a:ext cx="6453960" cy="13526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342900" lvl="1" indent="-342900">
                  <a:lnSpc>
                    <a:spcPct val="132000"/>
                  </a:lnSpc>
                  <a:buClr>
                    <a:schemeClr val="accent4">
                      <a:lumMod val="40000"/>
                      <a:lumOff val="60000"/>
                    </a:schemeClr>
                  </a:buClr>
                  <a:buFont typeface="Wingdings" panose="05000000000000000000" pitchFamily="2" charset="2"/>
                  <a:buChar char="Ø"/>
                </a:pPr>
                <a:r>
                  <a:rPr lang="zh-CN" altLang="en-US" sz="2400" dirty="0"/>
                  <a:t>启动磁臂的时间</a:t>
                </a:r>
                <a:r>
                  <a:rPr lang="en-US" altLang="zh-CN" sz="2400" dirty="0"/>
                  <a:t>k</a:t>
                </a:r>
              </a:p>
              <a:p>
                <a:pPr marL="342900" lvl="1" indent="-342900">
                  <a:lnSpc>
                    <a:spcPct val="132000"/>
                  </a:lnSpc>
                  <a:buClr>
                    <a:schemeClr val="accent4">
                      <a:lumMod val="40000"/>
                      <a:lumOff val="60000"/>
                    </a:schemeClr>
                  </a:buClr>
                  <a:buFont typeface="Wingdings" panose="05000000000000000000" pitchFamily="2" charset="2"/>
                  <a:buChar char="Ø"/>
                </a:pPr>
                <a:r>
                  <a:rPr lang="zh-CN" altLang="en-US" sz="2400" dirty="0"/>
                  <a:t>磁头移动</a:t>
                </a:r>
                <a:r>
                  <a:rPr lang="en-US" altLang="zh-CN" sz="2400" dirty="0"/>
                  <a:t>n</a:t>
                </a:r>
                <a:r>
                  <a:rPr lang="zh-CN" altLang="en-US" sz="2400" dirty="0"/>
                  <a:t>条磁道所花费的时间</a:t>
                </a:r>
              </a:p>
            </p:txBody>
          </p:sp>
        </p:grpSp>
        <p:grpSp>
          <p:nvGrpSpPr>
            <p:cNvPr id="6" name="ïS1íḋé"/>
            <p:cNvGrpSpPr/>
            <p:nvPr/>
          </p:nvGrpSpPr>
          <p:grpSpPr>
            <a:xfrm>
              <a:off x="660400" y="1787149"/>
              <a:ext cx="497734" cy="497734"/>
              <a:chOff x="660400" y="1787149"/>
              <a:chExt cx="497734" cy="497734"/>
            </a:xfrm>
          </p:grpSpPr>
          <p:sp>
            <p:nvSpPr>
              <p:cNvPr id="7" name="islîḋe"/>
              <p:cNvSpPr/>
              <p:nvPr/>
            </p:nvSpPr>
            <p:spPr>
              <a:xfrm>
                <a:off x="660400" y="1787149"/>
                <a:ext cx="497734" cy="497734"/>
              </a:xfrm>
              <a:prstGeom prst="ellipse">
                <a:avLst/>
              </a:prstGeom>
              <a:solidFill>
                <a:schemeClr val="accent1"/>
              </a:solidFill>
              <a:ln w="19050">
                <a:solidFill>
                  <a:schemeClr val="bg1"/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" name="îŝlîďe"/>
              <p:cNvSpPr/>
              <p:nvPr/>
            </p:nvSpPr>
            <p:spPr>
              <a:xfrm>
                <a:off x="779848" y="1918584"/>
                <a:ext cx="258838" cy="234864"/>
              </a:xfrm>
              <a:custGeom>
                <a:avLst/>
                <a:gdLst>
                  <a:gd name="connsiteX0" fmla="*/ 116112 w 607919"/>
                  <a:gd name="connsiteY0" fmla="*/ 473652 h 551610"/>
                  <a:gd name="connsiteX1" fmla="*/ 118901 w 607919"/>
                  <a:gd name="connsiteY1" fmla="*/ 480423 h 551610"/>
                  <a:gd name="connsiteX2" fmla="*/ 118901 w 607919"/>
                  <a:gd name="connsiteY2" fmla="*/ 551610 h 551610"/>
                  <a:gd name="connsiteX3" fmla="*/ 55604 w 607919"/>
                  <a:gd name="connsiteY3" fmla="*/ 551610 h 551610"/>
                  <a:gd name="connsiteX4" fmla="*/ 55604 w 607919"/>
                  <a:gd name="connsiteY4" fmla="*/ 540851 h 551610"/>
                  <a:gd name="connsiteX5" fmla="*/ 65255 w 607919"/>
                  <a:gd name="connsiteY5" fmla="*/ 520583 h 551610"/>
                  <a:gd name="connsiteX6" fmla="*/ 83555 w 607919"/>
                  <a:gd name="connsiteY6" fmla="*/ 502317 h 551610"/>
                  <a:gd name="connsiteX7" fmla="*/ 109375 w 607919"/>
                  <a:gd name="connsiteY7" fmla="*/ 476545 h 551610"/>
                  <a:gd name="connsiteX8" fmla="*/ 116112 w 607919"/>
                  <a:gd name="connsiteY8" fmla="*/ 473652 h 551610"/>
                  <a:gd name="connsiteX9" fmla="*/ 199155 w 607919"/>
                  <a:gd name="connsiteY9" fmla="*/ 390799 h 551610"/>
                  <a:gd name="connsiteX10" fmla="*/ 201956 w 607919"/>
                  <a:gd name="connsiteY10" fmla="*/ 397632 h 551610"/>
                  <a:gd name="connsiteX11" fmla="*/ 201956 w 607919"/>
                  <a:gd name="connsiteY11" fmla="*/ 551610 h 551610"/>
                  <a:gd name="connsiteX12" fmla="*/ 145363 w 607919"/>
                  <a:gd name="connsiteY12" fmla="*/ 551610 h 551610"/>
                  <a:gd name="connsiteX13" fmla="*/ 145363 w 607919"/>
                  <a:gd name="connsiteY13" fmla="*/ 454170 h 551610"/>
                  <a:gd name="connsiteX14" fmla="*/ 154879 w 607919"/>
                  <a:gd name="connsiteY14" fmla="*/ 431030 h 551610"/>
                  <a:gd name="connsiteX15" fmla="*/ 192315 w 607919"/>
                  <a:gd name="connsiteY15" fmla="*/ 393630 h 551610"/>
                  <a:gd name="connsiteX16" fmla="*/ 199155 w 607919"/>
                  <a:gd name="connsiteY16" fmla="*/ 390799 h 551610"/>
                  <a:gd name="connsiteX17" fmla="*/ 231082 w 607919"/>
                  <a:gd name="connsiteY17" fmla="*/ 388245 h 551610"/>
                  <a:gd name="connsiteX18" fmla="*/ 237930 w 607919"/>
                  <a:gd name="connsiteY18" fmla="*/ 391091 h 551610"/>
                  <a:gd name="connsiteX19" fmla="*/ 266763 w 607919"/>
                  <a:gd name="connsiteY19" fmla="*/ 419867 h 551610"/>
                  <a:gd name="connsiteX20" fmla="*/ 275915 w 607919"/>
                  <a:gd name="connsiteY20" fmla="*/ 428875 h 551610"/>
                  <a:gd name="connsiteX21" fmla="*/ 284941 w 607919"/>
                  <a:gd name="connsiteY21" fmla="*/ 451520 h 551610"/>
                  <a:gd name="connsiteX22" fmla="*/ 284941 w 607919"/>
                  <a:gd name="connsiteY22" fmla="*/ 551610 h 551610"/>
                  <a:gd name="connsiteX23" fmla="*/ 228277 w 607919"/>
                  <a:gd name="connsiteY23" fmla="*/ 551610 h 551610"/>
                  <a:gd name="connsiteX24" fmla="*/ 228277 w 607919"/>
                  <a:gd name="connsiteY24" fmla="*/ 394969 h 551610"/>
                  <a:gd name="connsiteX25" fmla="*/ 231082 w 607919"/>
                  <a:gd name="connsiteY25" fmla="*/ 388245 h 551610"/>
                  <a:gd name="connsiteX26" fmla="*/ 365148 w 607919"/>
                  <a:gd name="connsiteY26" fmla="*/ 381336 h 551610"/>
                  <a:gd name="connsiteX27" fmla="*/ 367997 w 607919"/>
                  <a:gd name="connsiteY27" fmla="*/ 388122 h 551610"/>
                  <a:gd name="connsiteX28" fmla="*/ 367997 w 607919"/>
                  <a:gd name="connsiteY28" fmla="*/ 551610 h 551610"/>
                  <a:gd name="connsiteX29" fmla="*/ 311262 w 607919"/>
                  <a:gd name="connsiteY29" fmla="*/ 551610 h 551610"/>
                  <a:gd name="connsiteX30" fmla="*/ 311262 w 607919"/>
                  <a:gd name="connsiteY30" fmla="*/ 444661 h 551610"/>
                  <a:gd name="connsiteX31" fmla="*/ 316898 w 607919"/>
                  <a:gd name="connsiteY31" fmla="*/ 425523 h 551610"/>
                  <a:gd name="connsiteX32" fmla="*/ 322534 w 607919"/>
                  <a:gd name="connsiteY32" fmla="*/ 419894 h 551610"/>
                  <a:gd name="connsiteX33" fmla="*/ 358353 w 607919"/>
                  <a:gd name="connsiteY33" fmla="*/ 384120 h 551610"/>
                  <a:gd name="connsiteX34" fmla="*/ 365148 w 607919"/>
                  <a:gd name="connsiteY34" fmla="*/ 381336 h 551610"/>
                  <a:gd name="connsiteX35" fmla="*/ 448177 w 607919"/>
                  <a:gd name="connsiteY35" fmla="*/ 298352 h 551610"/>
                  <a:gd name="connsiteX36" fmla="*/ 450982 w 607919"/>
                  <a:gd name="connsiteY36" fmla="*/ 305139 h 551610"/>
                  <a:gd name="connsiteX37" fmla="*/ 450982 w 607919"/>
                  <a:gd name="connsiteY37" fmla="*/ 551610 h 551610"/>
                  <a:gd name="connsiteX38" fmla="*/ 394318 w 607919"/>
                  <a:gd name="connsiteY38" fmla="*/ 551610 h 551610"/>
                  <a:gd name="connsiteX39" fmla="*/ 394318 w 607919"/>
                  <a:gd name="connsiteY39" fmla="*/ 361815 h 551610"/>
                  <a:gd name="connsiteX40" fmla="*/ 403846 w 607919"/>
                  <a:gd name="connsiteY40" fmla="*/ 338669 h 551610"/>
                  <a:gd name="connsiteX41" fmla="*/ 441329 w 607919"/>
                  <a:gd name="connsiteY41" fmla="*/ 301136 h 551610"/>
                  <a:gd name="connsiteX42" fmla="*/ 448177 w 607919"/>
                  <a:gd name="connsiteY42" fmla="*/ 298352 h 551610"/>
                  <a:gd name="connsiteX43" fmla="*/ 527085 w 607919"/>
                  <a:gd name="connsiteY43" fmla="*/ 219452 h 551610"/>
                  <a:gd name="connsiteX44" fmla="*/ 529874 w 607919"/>
                  <a:gd name="connsiteY44" fmla="*/ 226177 h 551610"/>
                  <a:gd name="connsiteX45" fmla="*/ 529874 w 607919"/>
                  <a:gd name="connsiteY45" fmla="*/ 551610 h 551610"/>
                  <a:gd name="connsiteX46" fmla="*/ 477232 w 607919"/>
                  <a:gd name="connsiteY46" fmla="*/ 551610 h 551610"/>
                  <a:gd name="connsiteX47" fmla="*/ 477232 w 607919"/>
                  <a:gd name="connsiteY47" fmla="*/ 278727 h 551610"/>
                  <a:gd name="connsiteX48" fmla="*/ 486883 w 607919"/>
                  <a:gd name="connsiteY48" fmla="*/ 255580 h 551610"/>
                  <a:gd name="connsiteX49" fmla="*/ 520348 w 607919"/>
                  <a:gd name="connsiteY49" fmla="*/ 222298 h 551610"/>
                  <a:gd name="connsiteX50" fmla="*/ 527085 w 607919"/>
                  <a:gd name="connsiteY50" fmla="*/ 219452 h 551610"/>
                  <a:gd name="connsiteX51" fmla="*/ 387769 w 607919"/>
                  <a:gd name="connsiteY51" fmla="*/ 0 h 551610"/>
                  <a:gd name="connsiteX52" fmla="*/ 580729 w 607919"/>
                  <a:gd name="connsiteY52" fmla="*/ 0 h 551610"/>
                  <a:gd name="connsiteX53" fmla="*/ 607919 w 607919"/>
                  <a:gd name="connsiteY53" fmla="*/ 26022 h 551610"/>
                  <a:gd name="connsiteX54" fmla="*/ 607919 w 607919"/>
                  <a:gd name="connsiteY54" fmla="*/ 219812 h 551610"/>
                  <a:gd name="connsiteX55" fmla="*/ 598271 w 607919"/>
                  <a:gd name="connsiteY55" fmla="*/ 223815 h 551610"/>
                  <a:gd name="connsiteX56" fmla="*/ 530610 w 607919"/>
                  <a:gd name="connsiteY56" fmla="*/ 156258 h 551610"/>
                  <a:gd name="connsiteX57" fmla="*/ 304320 w 607919"/>
                  <a:gd name="connsiteY57" fmla="*/ 382325 h 551610"/>
                  <a:gd name="connsiteX58" fmla="*/ 285024 w 607919"/>
                  <a:gd name="connsiteY58" fmla="*/ 382325 h 551610"/>
                  <a:gd name="connsiteX59" fmla="*/ 216360 w 607919"/>
                  <a:gd name="connsiteY59" fmla="*/ 313767 h 551610"/>
                  <a:gd name="connsiteX60" fmla="*/ 94068 w 607919"/>
                  <a:gd name="connsiteY60" fmla="*/ 435996 h 551610"/>
                  <a:gd name="connsiteX61" fmla="*/ 17260 w 607919"/>
                  <a:gd name="connsiteY61" fmla="*/ 435996 h 551610"/>
                  <a:gd name="connsiteX62" fmla="*/ 15882 w 607919"/>
                  <a:gd name="connsiteY62" fmla="*/ 434745 h 551610"/>
                  <a:gd name="connsiteX63" fmla="*/ 15882 w 607919"/>
                  <a:gd name="connsiteY63" fmla="*/ 358055 h 551610"/>
                  <a:gd name="connsiteX64" fmla="*/ 206837 w 607919"/>
                  <a:gd name="connsiteY64" fmla="*/ 167267 h 551610"/>
                  <a:gd name="connsiteX65" fmla="*/ 226008 w 607919"/>
                  <a:gd name="connsiteY65" fmla="*/ 167267 h 551610"/>
                  <a:gd name="connsiteX66" fmla="*/ 294672 w 607919"/>
                  <a:gd name="connsiteY66" fmla="*/ 235701 h 551610"/>
                  <a:gd name="connsiteX67" fmla="*/ 424481 w 607919"/>
                  <a:gd name="connsiteY67" fmla="*/ 105965 h 551610"/>
                  <a:gd name="connsiteX68" fmla="*/ 452423 w 607919"/>
                  <a:gd name="connsiteY68" fmla="*/ 78192 h 551610"/>
                  <a:gd name="connsiteX69" fmla="*/ 383885 w 607919"/>
                  <a:gd name="connsiteY69" fmla="*/ 9633 h 551610"/>
                  <a:gd name="connsiteX70" fmla="*/ 387769 w 607919"/>
                  <a:gd name="connsiteY70" fmla="*/ 0 h 551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607919" h="551610">
                    <a:moveTo>
                      <a:pt x="116112" y="473652"/>
                    </a:moveTo>
                    <a:cubicBezTo>
                      <a:pt x="117836" y="474356"/>
                      <a:pt x="118901" y="476670"/>
                      <a:pt x="118901" y="480423"/>
                    </a:cubicBezTo>
                    <a:lnTo>
                      <a:pt x="118901" y="551610"/>
                    </a:lnTo>
                    <a:lnTo>
                      <a:pt x="55604" y="551610"/>
                    </a:lnTo>
                    <a:lnTo>
                      <a:pt x="55604" y="540851"/>
                    </a:lnTo>
                    <a:cubicBezTo>
                      <a:pt x="55604" y="534971"/>
                      <a:pt x="59991" y="525838"/>
                      <a:pt x="65255" y="520583"/>
                    </a:cubicBezTo>
                    <a:lnTo>
                      <a:pt x="83555" y="502317"/>
                    </a:lnTo>
                    <a:lnTo>
                      <a:pt x="109375" y="476545"/>
                    </a:lnTo>
                    <a:cubicBezTo>
                      <a:pt x="112007" y="473855"/>
                      <a:pt x="114389" y="472948"/>
                      <a:pt x="116112" y="473652"/>
                    </a:cubicBezTo>
                    <a:close/>
                    <a:moveTo>
                      <a:pt x="199155" y="390799"/>
                    </a:moveTo>
                    <a:cubicBezTo>
                      <a:pt x="200892" y="391534"/>
                      <a:pt x="201956" y="393880"/>
                      <a:pt x="201956" y="397632"/>
                    </a:cubicBezTo>
                    <a:lnTo>
                      <a:pt x="201956" y="551610"/>
                    </a:lnTo>
                    <a:lnTo>
                      <a:pt x="145363" y="551610"/>
                    </a:lnTo>
                    <a:lnTo>
                      <a:pt x="145363" y="454170"/>
                    </a:lnTo>
                    <a:cubicBezTo>
                      <a:pt x="145363" y="446665"/>
                      <a:pt x="149620" y="436283"/>
                      <a:pt x="154879" y="431030"/>
                    </a:cubicBezTo>
                    <a:lnTo>
                      <a:pt x="192315" y="393630"/>
                    </a:lnTo>
                    <a:cubicBezTo>
                      <a:pt x="195007" y="390941"/>
                      <a:pt x="197417" y="390065"/>
                      <a:pt x="199155" y="390799"/>
                    </a:cubicBezTo>
                    <a:close/>
                    <a:moveTo>
                      <a:pt x="231082" y="388245"/>
                    </a:moveTo>
                    <a:cubicBezTo>
                      <a:pt x="232822" y="387525"/>
                      <a:pt x="235235" y="388401"/>
                      <a:pt x="237930" y="391091"/>
                    </a:cubicBezTo>
                    <a:lnTo>
                      <a:pt x="266763" y="419867"/>
                    </a:lnTo>
                    <a:lnTo>
                      <a:pt x="275915" y="428875"/>
                    </a:lnTo>
                    <a:cubicBezTo>
                      <a:pt x="280929" y="433879"/>
                      <a:pt x="284941" y="444013"/>
                      <a:pt x="284941" y="451520"/>
                    </a:cubicBezTo>
                    <a:lnTo>
                      <a:pt x="284941" y="551610"/>
                    </a:lnTo>
                    <a:lnTo>
                      <a:pt x="228277" y="551610"/>
                    </a:lnTo>
                    <a:lnTo>
                      <a:pt x="228277" y="394969"/>
                    </a:lnTo>
                    <a:cubicBezTo>
                      <a:pt x="228277" y="391278"/>
                      <a:pt x="229343" y="388964"/>
                      <a:pt x="231082" y="388245"/>
                    </a:cubicBezTo>
                    <a:close/>
                    <a:moveTo>
                      <a:pt x="365148" y="381336"/>
                    </a:moveTo>
                    <a:cubicBezTo>
                      <a:pt x="366901" y="382055"/>
                      <a:pt x="367997" y="384370"/>
                      <a:pt x="367997" y="388122"/>
                    </a:cubicBezTo>
                    <a:lnTo>
                      <a:pt x="367997" y="551610"/>
                    </a:lnTo>
                    <a:lnTo>
                      <a:pt x="311262" y="551610"/>
                    </a:lnTo>
                    <a:lnTo>
                      <a:pt x="311262" y="444661"/>
                    </a:lnTo>
                    <a:cubicBezTo>
                      <a:pt x="311262" y="437156"/>
                      <a:pt x="313767" y="428650"/>
                      <a:pt x="316898" y="425523"/>
                    </a:cubicBezTo>
                    <a:cubicBezTo>
                      <a:pt x="320029" y="422396"/>
                      <a:pt x="322534" y="419894"/>
                      <a:pt x="322534" y="419894"/>
                    </a:cubicBezTo>
                    <a:lnTo>
                      <a:pt x="358353" y="384120"/>
                    </a:lnTo>
                    <a:cubicBezTo>
                      <a:pt x="360983" y="381493"/>
                      <a:pt x="363394" y="380617"/>
                      <a:pt x="365148" y="381336"/>
                    </a:cubicBezTo>
                    <a:close/>
                    <a:moveTo>
                      <a:pt x="448177" y="298352"/>
                    </a:moveTo>
                    <a:cubicBezTo>
                      <a:pt x="449916" y="299071"/>
                      <a:pt x="450982" y="301386"/>
                      <a:pt x="450982" y="305139"/>
                    </a:cubicBezTo>
                    <a:lnTo>
                      <a:pt x="450982" y="551610"/>
                    </a:lnTo>
                    <a:lnTo>
                      <a:pt x="394318" y="551610"/>
                    </a:lnTo>
                    <a:lnTo>
                      <a:pt x="394318" y="361815"/>
                    </a:lnTo>
                    <a:cubicBezTo>
                      <a:pt x="394318" y="354308"/>
                      <a:pt x="398580" y="343924"/>
                      <a:pt x="403846" y="338669"/>
                    </a:cubicBezTo>
                    <a:lnTo>
                      <a:pt x="441329" y="301136"/>
                    </a:lnTo>
                    <a:cubicBezTo>
                      <a:pt x="444024" y="298508"/>
                      <a:pt x="446438" y="297633"/>
                      <a:pt x="448177" y="298352"/>
                    </a:cubicBezTo>
                    <a:close/>
                    <a:moveTo>
                      <a:pt x="527085" y="219452"/>
                    </a:moveTo>
                    <a:cubicBezTo>
                      <a:pt x="528809" y="220171"/>
                      <a:pt x="529874" y="222486"/>
                      <a:pt x="529874" y="226177"/>
                    </a:cubicBezTo>
                    <a:lnTo>
                      <a:pt x="529874" y="551610"/>
                    </a:lnTo>
                    <a:lnTo>
                      <a:pt x="477232" y="551610"/>
                    </a:lnTo>
                    <a:lnTo>
                      <a:pt x="477232" y="278727"/>
                    </a:lnTo>
                    <a:cubicBezTo>
                      <a:pt x="477232" y="271345"/>
                      <a:pt x="481494" y="260960"/>
                      <a:pt x="486883" y="255580"/>
                    </a:cubicBezTo>
                    <a:lnTo>
                      <a:pt x="520348" y="222298"/>
                    </a:lnTo>
                    <a:cubicBezTo>
                      <a:pt x="522980" y="219608"/>
                      <a:pt x="525362" y="218732"/>
                      <a:pt x="527085" y="219452"/>
                    </a:cubicBezTo>
                    <a:close/>
                    <a:moveTo>
                      <a:pt x="387769" y="0"/>
                    </a:moveTo>
                    <a:lnTo>
                      <a:pt x="580729" y="0"/>
                    </a:lnTo>
                    <a:cubicBezTo>
                      <a:pt x="594512" y="0"/>
                      <a:pt x="607919" y="12135"/>
                      <a:pt x="607919" y="26022"/>
                    </a:cubicBezTo>
                    <a:lnTo>
                      <a:pt x="607919" y="219812"/>
                    </a:lnTo>
                    <a:cubicBezTo>
                      <a:pt x="607919" y="227318"/>
                      <a:pt x="603534" y="229070"/>
                      <a:pt x="598271" y="223815"/>
                    </a:cubicBezTo>
                    <a:lnTo>
                      <a:pt x="530610" y="156258"/>
                    </a:lnTo>
                    <a:lnTo>
                      <a:pt x="304320" y="382325"/>
                    </a:lnTo>
                    <a:cubicBezTo>
                      <a:pt x="298932" y="387580"/>
                      <a:pt x="290412" y="387580"/>
                      <a:pt x="285024" y="382325"/>
                    </a:cubicBezTo>
                    <a:lnTo>
                      <a:pt x="216360" y="313767"/>
                    </a:lnTo>
                    <a:lnTo>
                      <a:pt x="94068" y="435996"/>
                    </a:lnTo>
                    <a:cubicBezTo>
                      <a:pt x="72767" y="457264"/>
                      <a:pt x="38435" y="457264"/>
                      <a:pt x="17260" y="435996"/>
                    </a:cubicBezTo>
                    <a:lnTo>
                      <a:pt x="15882" y="434745"/>
                    </a:lnTo>
                    <a:cubicBezTo>
                      <a:pt x="-5294" y="413477"/>
                      <a:pt x="-5294" y="379198"/>
                      <a:pt x="15882" y="358055"/>
                    </a:cubicBezTo>
                    <a:lnTo>
                      <a:pt x="206837" y="167267"/>
                    </a:lnTo>
                    <a:cubicBezTo>
                      <a:pt x="212100" y="161888"/>
                      <a:pt x="220745" y="161888"/>
                      <a:pt x="226008" y="167267"/>
                    </a:cubicBezTo>
                    <a:lnTo>
                      <a:pt x="294672" y="235701"/>
                    </a:lnTo>
                    <a:lnTo>
                      <a:pt x="424481" y="105965"/>
                    </a:lnTo>
                    <a:lnTo>
                      <a:pt x="452423" y="78192"/>
                    </a:lnTo>
                    <a:lnTo>
                      <a:pt x="383885" y="9633"/>
                    </a:lnTo>
                    <a:cubicBezTo>
                      <a:pt x="378497" y="4379"/>
                      <a:pt x="380376" y="0"/>
                      <a:pt x="38776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11" name="iŝļïḓê"/>
          <p:cNvGrpSpPr/>
          <p:nvPr/>
        </p:nvGrpSpPr>
        <p:grpSpPr>
          <a:xfrm>
            <a:off x="669925" y="3307150"/>
            <a:ext cx="6297847" cy="3299712"/>
            <a:chOff x="660400" y="2092935"/>
            <a:chExt cx="6297847" cy="3299712"/>
          </a:xfrm>
        </p:grpSpPr>
        <p:grpSp>
          <p:nvGrpSpPr>
            <p:cNvPr id="12" name="ïṧļïḓe"/>
            <p:cNvGrpSpPr/>
            <p:nvPr/>
          </p:nvGrpSpPr>
          <p:grpSpPr>
            <a:xfrm>
              <a:off x="1296567" y="2092935"/>
              <a:ext cx="5661680" cy="3299712"/>
              <a:chOff x="1296567" y="2092935"/>
              <a:chExt cx="7140794" cy="3299712"/>
            </a:xfrm>
          </p:grpSpPr>
          <p:sp>
            <p:nvSpPr>
              <p:cNvPr id="16" name="ïšļíďè"/>
              <p:cNvSpPr txBox="1"/>
              <p:nvPr/>
            </p:nvSpPr>
            <p:spPr>
              <a:xfrm>
                <a:off x="1296567" y="2092935"/>
                <a:ext cx="7140794" cy="389423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90000"/>
                  </a:lnSpc>
                </a:pPr>
                <a:r>
                  <a:rPr lang="zh-CN" altLang="en-US" sz="2400" dirty="0">
                    <a:sym typeface="Wingdings" panose="05000000000000000000" pitchFamily="2" charset="2"/>
                  </a:rPr>
                  <a:t>公式</a:t>
                </a:r>
                <a:r>
                  <a:rPr lang="en-US" altLang="zh-CN" sz="2400" dirty="0" err="1">
                    <a:solidFill>
                      <a:srgbClr val="FF0000"/>
                    </a:solidFill>
                    <a:sym typeface="Wingdings" panose="05000000000000000000" pitchFamily="2" charset="2"/>
                  </a:rPr>
                  <a:t>T</a:t>
                </a:r>
                <a:r>
                  <a:rPr lang="en-US" altLang="zh-CN" sz="2400" baseline="-25000" dirty="0" err="1">
                    <a:solidFill>
                      <a:srgbClr val="FF0000"/>
                    </a:solidFill>
                    <a:sym typeface="Wingdings" panose="05000000000000000000" pitchFamily="2" charset="2"/>
                  </a:rPr>
                  <a:t>s</a:t>
                </a:r>
                <a:r>
                  <a:rPr lang="en-US" altLang="zh-CN" sz="2400" dirty="0">
                    <a:solidFill>
                      <a:srgbClr val="FF0000"/>
                    </a:solidFill>
                    <a:sym typeface="Wingdings" panose="05000000000000000000" pitchFamily="2" charset="2"/>
                  </a:rPr>
                  <a:t>=</a:t>
                </a:r>
                <a:r>
                  <a:rPr lang="en-US" altLang="zh-CN" sz="2400" dirty="0" err="1">
                    <a:solidFill>
                      <a:srgbClr val="FF0000"/>
                    </a:solidFill>
                    <a:sym typeface="Wingdings" panose="05000000000000000000" pitchFamily="2" charset="2"/>
                  </a:rPr>
                  <a:t>m</a:t>
                </a:r>
                <a:r>
                  <a:rPr lang="en-US" altLang="zh-CN" sz="2200" dirty="0" err="1">
                    <a:solidFill>
                      <a:srgbClr val="FF0000"/>
                    </a:solidFill>
                    <a:sym typeface="Wingdings" panose="05000000000000000000" pitchFamily="2" charset="2"/>
                  </a:rPr>
                  <a:t>×</a:t>
                </a:r>
                <a:r>
                  <a:rPr lang="en-US" altLang="zh-CN" sz="2400" dirty="0" err="1">
                    <a:solidFill>
                      <a:srgbClr val="FF0000"/>
                    </a:solidFill>
                    <a:sym typeface="Wingdings" panose="05000000000000000000" pitchFamily="2" charset="2"/>
                  </a:rPr>
                  <a:t>n+k</a:t>
                </a:r>
                <a:endParaRPr lang="en-US" altLang="zh-CN" sz="2400" dirty="0">
                  <a:sym typeface="Wingdings" panose="05000000000000000000" pitchFamily="2" charset="2"/>
                </a:endParaRPr>
              </a:p>
            </p:txBody>
          </p:sp>
          <p:sp>
            <p:nvSpPr>
              <p:cNvPr id="17" name="íşľíḑè"/>
              <p:cNvSpPr/>
              <p:nvPr/>
            </p:nvSpPr>
            <p:spPr bwMode="auto">
              <a:xfrm>
                <a:off x="1312811" y="2588173"/>
                <a:ext cx="6632638" cy="280447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342900" lvl="1" indent="-342900">
                  <a:lnSpc>
                    <a:spcPct val="120000"/>
                  </a:lnSpc>
                  <a:buFont typeface="Wingdings" panose="05000000000000000000" pitchFamily="2" charset="2"/>
                  <a:buChar char="Ø"/>
                </a:pPr>
                <a:r>
                  <a:rPr lang="en-US" altLang="zh-CN" sz="2400" dirty="0"/>
                  <a:t>m:</a:t>
                </a:r>
                <a:r>
                  <a:rPr lang="zh-CN" altLang="en-US" sz="2400" dirty="0"/>
                  <a:t>常数，与磁盘驱动器的速度有关，对一般磁盘，</a:t>
                </a:r>
                <a:r>
                  <a:rPr lang="en-US" altLang="zh-CN" sz="2400" dirty="0"/>
                  <a:t>m=0.2</a:t>
                </a:r>
                <a:r>
                  <a:rPr lang="zh-CN" altLang="en-US" sz="2400" dirty="0"/>
                  <a:t>；对高速磁盘，</a:t>
                </a:r>
                <a:r>
                  <a:rPr lang="en-US" altLang="zh-CN" sz="2400" dirty="0"/>
                  <a:t>m&lt;=0.1</a:t>
                </a:r>
              </a:p>
              <a:p>
                <a:pPr marL="342900" lvl="1" indent="-342900">
                  <a:lnSpc>
                    <a:spcPct val="120000"/>
                  </a:lnSpc>
                  <a:buFont typeface="Wingdings" panose="05000000000000000000" pitchFamily="2" charset="2"/>
                  <a:buChar char="Ø"/>
                </a:pPr>
                <a:r>
                  <a:rPr lang="en-US" altLang="zh-CN" sz="2400" dirty="0"/>
                  <a:t>k:</a:t>
                </a:r>
                <a:r>
                  <a:rPr lang="zh-CN" altLang="en-US" sz="2400" dirty="0"/>
                  <a:t>约</a:t>
                </a:r>
                <a:r>
                  <a:rPr lang="en-US" altLang="zh-CN" sz="2400" dirty="0"/>
                  <a:t>2ms</a:t>
                </a:r>
              </a:p>
              <a:p>
                <a:pPr marL="342900" lvl="1" indent="-342900">
                  <a:lnSpc>
                    <a:spcPct val="120000"/>
                  </a:lnSpc>
                  <a:buFont typeface="Wingdings" panose="05000000000000000000" pitchFamily="2" charset="2"/>
                  <a:buChar char="Ø"/>
                </a:pPr>
                <a:r>
                  <a:rPr lang="zh-CN" altLang="en-US" sz="2400" dirty="0"/>
                  <a:t>对一般磁盘，寻道时间将随寻道距离的增加而增大，大体上是</a:t>
                </a:r>
                <a:r>
                  <a:rPr lang="en-US" altLang="zh-CN" sz="2400" dirty="0"/>
                  <a:t>5~30ms</a:t>
                </a:r>
              </a:p>
            </p:txBody>
          </p:sp>
        </p:grpSp>
        <p:grpSp>
          <p:nvGrpSpPr>
            <p:cNvPr id="13" name="ïŝľídè"/>
            <p:cNvGrpSpPr/>
            <p:nvPr/>
          </p:nvGrpSpPr>
          <p:grpSpPr>
            <a:xfrm>
              <a:off x="660400" y="2096245"/>
              <a:ext cx="497734" cy="497734"/>
              <a:chOff x="660400" y="2096245"/>
              <a:chExt cx="497734" cy="497734"/>
            </a:xfrm>
          </p:grpSpPr>
          <p:sp>
            <p:nvSpPr>
              <p:cNvPr id="14" name="ïṡľïde"/>
              <p:cNvSpPr/>
              <p:nvPr/>
            </p:nvSpPr>
            <p:spPr>
              <a:xfrm>
                <a:off x="660400" y="2096245"/>
                <a:ext cx="497734" cy="497734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19050">
                <a:solidFill>
                  <a:schemeClr val="bg1"/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5" name="ïšliḍe"/>
              <p:cNvSpPr/>
              <p:nvPr/>
            </p:nvSpPr>
            <p:spPr>
              <a:xfrm>
                <a:off x="779848" y="2227680"/>
                <a:ext cx="258838" cy="234864"/>
              </a:xfrm>
              <a:custGeom>
                <a:avLst/>
                <a:gdLst>
                  <a:gd name="connsiteX0" fmla="*/ 116112 w 607919"/>
                  <a:gd name="connsiteY0" fmla="*/ 473652 h 551610"/>
                  <a:gd name="connsiteX1" fmla="*/ 118901 w 607919"/>
                  <a:gd name="connsiteY1" fmla="*/ 480423 h 551610"/>
                  <a:gd name="connsiteX2" fmla="*/ 118901 w 607919"/>
                  <a:gd name="connsiteY2" fmla="*/ 551610 h 551610"/>
                  <a:gd name="connsiteX3" fmla="*/ 55604 w 607919"/>
                  <a:gd name="connsiteY3" fmla="*/ 551610 h 551610"/>
                  <a:gd name="connsiteX4" fmla="*/ 55604 w 607919"/>
                  <a:gd name="connsiteY4" fmla="*/ 540851 h 551610"/>
                  <a:gd name="connsiteX5" fmla="*/ 65255 w 607919"/>
                  <a:gd name="connsiteY5" fmla="*/ 520583 h 551610"/>
                  <a:gd name="connsiteX6" fmla="*/ 83555 w 607919"/>
                  <a:gd name="connsiteY6" fmla="*/ 502317 h 551610"/>
                  <a:gd name="connsiteX7" fmla="*/ 109375 w 607919"/>
                  <a:gd name="connsiteY7" fmla="*/ 476545 h 551610"/>
                  <a:gd name="connsiteX8" fmla="*/ 116112 w 607919"/>
                  <a:gd name="connsiteY8" fmla="*/ 473652 h 551610"/>
                  <a:gd name="connsiteX9" fmla="*/ 199155 w 607919"/>
                  <a:gd name="connsiteY9" fmla="*/ 390799 h 551610"/>
                  <a:gd name="connsiteX10" fmla="*/ 201956 w 607919"/>
                  <a:gd name="connsiteY10" fmla="*/ 397632 h 551610"/>
                  <a:gd name="connsiteX11" fmla="*/ 201956 w 607919"/>
                  <a:gd name="connsiteY11" fmla="*/ 551610 h 551610"/>
                  <a:gd name="connsiteX12" fmla="*/ 145363 w 607919"/>
                  <a:gd name="connsiteY12" fmla="*/ 551610 h 551610"/>
                  <a:gd name="connsiteX13" fmla="*/ 145363 w 607919"/>
                  <a:gd name="connsiteY13" fmla="*/ 454170 h 551610"/>
                  <a:gd name="connsiteX14" fmla="*/ 154879 w 607919"/>
                  <a:gd name="connsiteY14" fmla="*/ 431030 h 551610"/>
                  <a:gd name="connsiteX15" fmla="*/ 192315 w 607919"/>
                  <a:gd name="connsiteY15" fmla="*/ 393630 h 551610"/>
                  <a:gd name="connsiteX16" fmla="*/ 199155 w 607919"/>
                  <a:gd name="connsiteY16" fmla="*/ 390799 h 551610"/>
                  <a:gd name="connsiteX17" fmla="*/ 231082 w 607919"/>
                  <a:gd name="connsiteY17" fmla="*/ 388245 h 551610"/>
                  <a:gd name="connsiteX18" fmla="*/ 237930 w 607919"/>
                  <a:gd name="connsiteY18" fmla="*/ 391091 h 551610"/>
                  <a:gd name="connsiteX19" fmla="*/ 266763 w 607919"/>
                  <a:gd name="connsiteY19" fmla="*/ 419867 h 551610"/>
                  <a:gd name="connsiteX20" fmla="*/ 275915 w 607919"/>
                  <a:gd name="connsiteY20" fmla="*/ 428875 h 551610"/>
                  <a:gd name="connsiteX21" fmla="*/ 284941 w 607919"/>
                  <a:gd name="connsiteY21" fmla="*/ 451520 h 551610"/>
                  <a:gd name="connsiteX22" fmla="*/ 284941 w 607919"/>
                  <a:gd name="connsiteY22" fmla="*/ 551610 h 551610"/>
                  <a:gd name="connsiteX23" fmla="*/ 228277 w 607919"/>
                  <a:gd name="connsiteY23" fmla="*/ 551610 h 551610"/>
                  <a:gd name="connsiteX24" fmla="*/ 228277 w 607919"/>
                  <a:gd name="connsiteY24" fmla="*/ 394969 h 551610"/>
                  <a:gd name="connsiteX25" fmla="*/ 231082 w 607919"/>
                  <a:gd name="connsiteY25" fmla="*/ 388245 h 551610"/>
                  <a:gd name="connsiteX26" fmla="*/ 365148 w 607919"/>
                  <a:gd name="connsiteY26" fmla="*/ 381336 h 551610"/>
                  <a:gd name="connsiteX27" fmla="*/ 367997 w 607919"/>
                  <a:gd name="connsiteY27" fmla="*/ 388122 h 551610"/>
                  <a:gd name="connsiteX28" fmla="*/ 367997 w 607919"/>
                  <a:gd name="connsiteY28" fmla="*/ 551610 h 551610"/>
                  <a:gd name="connsiteX29" fmla="*/ 311262 w 607919"/>
                  <a:gd name="connsiteY29" fmla="*/ 551610 h 551610"/>
                  <a:gd name="connsiteX30" fmla="*/ 311262 w 607919"/>
                  <a:gd name="connsiteY30" fmla="*/ 444661 h 551610"/>
                  <a:gd name="connsiteX31" fmla="*/ 316898 w 607919"/>
                  <a:gd name="connsiteY31" fmla="*/ 425523 h 551610"/>
                  <a:gd name="connsiteX32" fmla="*/ 322534 w 607919"/>
                  <a:gd name="connsiteY32" fmla="*/ 419894 h 551610"/>
                  <a:gd name="connsiteX33" fmla="*/ 358353 w 607919"/>
                  <a:gd name="connsiteY33" fmla="*/ 384120 h 551610"/>
                  <a:gd name="connsiteX34" fmla="*/ 365148 w 607919"/>
                  <a:gd name="connsiteY34" fmla="*/ 381336 h 551610"/>
                  <a:gd name="connsiteX35" fmla="*/ 448177 w 607919"/>
                  <a:gd name="connsiteY35" fmla="*/ 298352 h 551610"/>
                  <a:gd name="connsiteX36" fmla="*/ 450982 w 607919"/>
                  <a:gd name="connsiteY36" fmla="*/ 305139 h 551610"/>
                  <a:gd name="connsiteX37" fmla="*/ 450982 w 607919"/>
                  <a:gd name="connsiteY37" fmla="*/ 551610 h 551610"/>
                  <a:gd name="connsiteX38" fmla="*/ 394318 w 607919"/>
                  <a:gd name="connsiteY38" fmla="*/ 551610 h 551610"/>
                  <a:gd name="connsiteX39" fmla="*/ 394318 w 607919"/>
                  <a:gd name="connsiteY39" fmla="*/ 361815 h 551610"/>
                  <a:gd name="connsiteX40" fmla="*/ 403846 w 607919"/>
                  <a:gd name="connsiteY40" fmla="*/ 338669 h 551610"/>
                  <a:gd name="connsiteX41" fmla="*/ 441329 w 607919"/>
                  <a:gd name="connsiteY41" fmla="*/ 301136 h 551610"/>
                  <a:gd name="connsiteX42" fmla="*/ 448177 w 607919"/>
                  <a:gd name="connsiteY42" fmla="*/ 298352 h 551610"/>
                  <a:gd name="connsiteX43" fmla="*/ 527085 w 607919"/>
                  <a:gd name="connsiteY43" fmla="*/ 219452 h 551610"/>
                  <a:gd name="connsiteX44" fmla="*/ 529874 w 607919"/>
                  <a:gd name="connsiteY44" fmla="*/ 226177 h 551610"/>
                  <a:gd name="connsiteX45" fmla="*/ 529874 w 607919"/>
                  <a:gd name="connsiteY45" fmla="*/ 551610 h 551610"/>
                  <a:gd name="connsiteX46" fmla="*/ 477232 w 607919"/>
                  <a:gd name="connsiteY46" fmla="*/ 551610 h 551610"/>
                  <a:gd name="connsiteX47" fmla="*/ 477232 w 607919"/>
                  <a:gd name="connsiteY47" fmla="*/ 278727 h 551610"/>
                  <a:gd name="connsiteX48" fmla="*/ 486883 w 607919"/>
                  <a:gd name="connsiteY48" fmla="*/ 255580 h 551610"/>
                  <a:gd name="connsiteX49" fmla="*/ 520348 w 607919"/>
                  <a:gd name="connsiteY49" fmla="*/ 222298 h 551610"/>
                  <a:gd name="connsiteX50" fmla="*/ 527085 w 607919"/>
                  <a:gd name="connsiteY50" fmla="*/ 219452 h 551610"/>
                  <a:gd name="connsiteX51" fmla="*/ 387769 w 607919"/>
                  <a:gd name="connsiteY51" fmla="*/ 0 h 551610"/>
                  <a:gd name="connsiteX52" fmla="*/ 580729 w 607919"/>
                  <a:gd name="connsiteY52" fmla="*/ 0 h 551610"/>
                  <a:gd name="connsiteX53" fmla="*/ 607919 w 607919"/>
                  <a:gd name="connsiteY53" fmla="*/ 26022 h 551610"/>
                  <a:gd name="connsiteX54" fmla="*/ 607919 w 607919"/>
                  <a:gd name="connsiteY54" fmla="*/ 219812 h 551610"/>
                  <a:gd name="connsiteX55" fmla="*/ 598271 w 607919"/>
                  <a:gd name="connsiteY55" fmla="*/ 223815 h 551610"/>
                  <a:gd name="connsiteX56" fmla="*/ 530610 w 607919"/>
                  <a:gd name="connsiteY56" fmla="*/ 156258 h 551610"/>
                  <a:gd name="connsiteX57" fmla="*/ 304320 w 607919"/>
                  <a:gd name="connsiteY57" fmla="*/ 382325 h 551610"/>
                  <a:gd name="connsiteX58" fmla="*/ 285024 w 607919"/>
                  <a:gd name="connsiteY58" fmla="*/ 382325 h 551610"/>
                  <a:gd name="connsiteX59" fmla="*/ 216360 w 607919"/>
                  <a:gd name="connsiteY59" fmla="*/ 313767 h 551610"/>
                  <a:gd name="connsiteX60" fmla="*/ 94068 w 607919"/>
                  <a:gd name="connsiteY60" fmla="*/ 435996 h 551610"/>
                  <a:gd name="connsiteX61" fmla="*/ 17260 w 607919"/>
                  <a:gd name="connsiteY61" fmla="*/ 435996 h 551610"/>
                  <a:gd name="connsiteX62" fmla="*/ 15882 w 607919"/>
                  <a:gd name="connsiteY62" fmla="*/ 434745 h 551610"/>
                  <a:gd name="connsiteX63" fmla="*/ 15882 w 607919"/>
                  <a:gd name="connsiteY63" fmla="*/ 358055 h 551610"/>
                  <a:gd name="connsiteX64" fmla="*/ 206837 w 607919"/>
                  <a:gd name="connsiteY64" fmla="*/ 167267 h 551610"/>
                  <a:gd name="connsiteX65" fmla="*/ 226008 w 607919"/>
                  <a:gd name="connsiteY65" fmla="*/ 167267 h 551610"/>
                  <a:gd name="connsiteX66" fmla="*/ 294672 w 607919"/>
                  <a:gd name="connsiteY66" fmla="*/ 235701 h 551610"/>
                  <a:gd name="connsiteX67" fmla="*/ 424481 w 607919"/>
                  <a:gd name="connsiteY67" fmla="*/ 105965 h 551610"/>
                  <a:gd name="connsiteX68" fmla="*/ 452423 w 607919"/>
                  <a:gd name="connsiteY68" fmla="*/ 78192 h 551610"/>
                  <a:gd name="connsiteX69" fmla="*/ 383885 w 607919"/>
                  <a:gd name="connsiteY69" fmla="*/ 9633 h 551610"/>
                  <a:gd name="connsiteX70" fmla="*/ 387769 w 607919"/>
                  <a:gd name="connsiteY70" fmla="*/ 0 h 551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607919" h="551610">
                    <a:moveTo>
                      <a:pt x="116112" y="473652"/>
                    </a:moveTo>
                    <a:cubicBezTo>
                      <a:pt x="117836" y="474356"/>
                      <a:pt x="118901" y="476670"/>
                      <a:pt x="118901" y="480423"/>
                    </a:cubicBezTo>
                    <a:lnTo>
                      <a:pt x="118901" y="551610"/>
                    </a:lnTo>
                    <a:lnTo>
                      <a:pt x="55604" y="551610"/>
                    </a:lnTo>
                    <a:lnTo>
                      <a:pt x="55604" y="540851"/>
                    </a:lnTo>
                    <a:cubicBezTo>
                      <a:pt x="55604" y="534971"/>
                      <a:pt x="59991" y="525838"/>
                      <a:pt x="65255" y="520583"/>
                    </a:cubicBezTo>
                    <a:lnTo>
                      <a:pt x="83555" y="502317"/>
                    </a:lnTo>
                    <a:lnTo>
                      <a:pt x="109375" y="476545"/>
                    </a:lnTo>
                    <a:cubicBezTo>
                      <a:pt x="112007" y="473855"/>
                      <a:pt x="114389" y="472948"/>
                      <a:pt x="116112" y="473652"/>
                    </a:cubicBezTo>
                    <a:close/>
                    <a:moveTo>
                      <a:pt x="199155" y="390799"/>
                    </a:moveTo>
                    <a:cubicBezTo>
                      <a:pt x="200892" y="391534"/>
                      <a:pt x="201956" y="393880"/>
                      <a:pt x="201956" y="397632"/>
                    </a:cubicBezTo>
                    <a:lnTo>
                      <a:pt x="201956" y="551610"/>
                    </a:lnTo>
                    <a:lnTo>
                      <a:pt x="145363" y="551610"/>
                    </a:lnTo>
                    <a:lnTo>
                      <a:pt x="145363" y="454170"/>
                    </a:lnTo>
                    <a:cubicBezTo>
                      <a:pt x="145363" y="446665"/>
                      <a:pt x="149620" y="436283"/>
                      <a:pt x="154879" y="431030"/>
                    </a:cubicBezTo>
                    <a:lnTo>
                      <a:pt x="192315" y="393630"/>
                    </a:lnTo>
                    <a:cubicBezTo>
                      <a:pt x="195007" y="390941"/>
                      <a:pt x="197417" y="390065"/>
                      <a:pt x="199155" y="390799"/>
                    </a:cubicBezTo>
                    <a:close/>
                    <a:moveTo>
                      <a:pt x="231082" y="388245"/>
                    </a:moveTo>
                    <a:cubicBezTo>
                      <a:pt x="232822" y="387525"/>
                      <a:pt x="235235" y="388401"/>
                      <a:pt x="237930" y="391091"/>
                    </a:cubicBezTo>
                    <a:lnTo>
                      <a:pt x="266763" y="419867"/>
                    </a:lnTo>
                    <a:lnTo>
                      <a:pt x="275915" y="428875"/>
                    </a:lnTo>
                    <a:cubicBezTo>
                      <a:pt x="280929" y="433879"/>
                      <a:pt x="284941" y="444013"/>
                      <a:pt x="284941" y="451520"/>
                    </a:cubicBezTo>
                    <a:lnTo>
                      <a:pt x="284941" y="551610"/>
                    </a:lnTo>
                    <a:lnTo>
                      <a:pt x="228277" y="551610"/>
                    </a:lnTo>
                    <a:lnTo>
                      <a:pt x="228277" y="394969"/>
                    </a:lnTo>
                    <a:cubicBezTo>
                      <a:pt x="228277" y="391278"/>
                      <a:pt x="229343" y="388964"/>
                      <a:pt x="231082" y="388245"/>
                    </a:cubicBezTo>
                    <a:close/>
                    <a:moveTo>
                      <a:pt x="365148" y="381336"/>
                    </a:moveTo>
                    <a:cubicBezTo>
                      <a:pt x="366901" y="382055"/>
                      <a:pt x="367997" y="384370"/>
                      <a:pt x="367997" y="388122"/>
                    </a:cubicBezTo>
                    <a:lnTo>
                      <a:pt x="367997" y="551610"/>
                    </a:lnTo>
                    <a:lnTo>
                      <a:pt x="311262" y="551610"/>
                    </a:lnTo>
                    <a:lnTo>
                      <a:pt x="311262" y="444661"/>
                    </a:lnTo>
                    <a:cubicBezTo>
                      <a:pt x="311262" y="437156"/>
                      <a:pt x="313767" y="428650"/>
                      <a:pt x="316898" y="425523"/>
                    </a:cubicBezTo>
                    <a:cubicBezTo>
                      <a:pt x="320029" y="422396"/>
                      <a:pt x="322534" y="419894"/>
                      <a:pt x="322534" y="419894"/>
                    </a:cubicBezTo>
                    <a:lnTo>
                      <a:pt x="358353" y="384120"/>
                    </a:lnTo>
                    <a:cubicBezTo>
                      <a:pt x="360983" y="381493"/>
                      <a:pt x="363394" y="380617"/>
                      <a:pt x="365148" y="381336"/>
                    </a:cubicBezTo>
                    <a:close/>
                    <a:moveTo>
                      <a:pt x="448177" y="298352"/>
                    </a:moveTo>
                    <a:cubicBezTo>
                      <a:pt x="449916" y="299071"/>
                      <a:pt x="450982" y="301386"/>
                      <a:pt x="450982" y="305139"/>
                    </a:cubicBezTo>
                    <a:lnTo>
                      <a:pt x="450982" y="551610"/>
                    </a:lnTo>
                    <a:lnTo>
                      <a:pt x="394318" y="551610"/>
                    </a:lnTo>
                    <a:lnTo>
                      <a:pt x="394318" y="361815"/>
                    </a:lnTo>
                    <a:cubicBezTo>
                      <a:pt x="394318" y="354308"/>
                      <a:pt x="398580" y="343924"/>
                      <a:pt x="403846" y="338669"/>
                    </a:cubicBezTo>
                    <a:lnTo>
                      <a:pt x="441329" y="301136"/>
                    </a:lnTo>
                    <a:cubicBezTo>
                      <a:pt x="444024" y="298508"/>
                      <a:pt x="446438" y="297633"/>
                      <a:pt x="448177" y="298352"/>
                    </a:cubicBezTo>
                    <a:close/>
                    <a:moveTo>
                      <a:pt x="527085" y="219452"/>
                    </a:moveTo>
                    <a:cubicBezTo>
                      <a:pt x="528809" y="220171"/>
                      <a:pt x="529874" y="222486"/>
                      <a:pt x="529874" y="226177"/>
                    </a:cubicBezTo>
                    <a:lnTo>
                      <a:pt x="529874" y="551610"/>
                    </a:lnTo>
                    <a:lnTo>
                      <a:pt x="477232" y="551610"/>
                    </a:lnTo>
                    <a:lnTo>
                      <a:pt x="477232" y="278727"/>
                    </a:lnTo>
                    <a:cubicBezTo>
                      <a:pt x="477232" y="271345"/>
                      <a:pt x="481494" y="260960"/>
                      <a:pt x="486883" y="255580"/>
                    </a:cubicBezTo>
                    <a:lnTo>
                      <a:pt x="520348" y="222298"/>
                    </a:lnTo>
                    <a:cubicBezTo>
                      <a:pt x="522980" y="219608"/>
                      <a:pt x="525362" y="218732"/>
                      <a:pt x="527085" y="219452"/>
                    </a:cubicBezTo>
                    <a:close/>
                    <a:moveTo>
                      <a:pt x="387769" y="0"/>
                    </a:moveTo>
                    <a:lnTo>
                      <a:pt x="580729" y="0"/>
                    </a:lnTo>
                    <a:cubicBezTo>
                      <a:pt x="594512" y="0"/>
                      <a:pt x="607919" y="12135"/>
                      <a:pt x="607919" y="26022"/>
                    </a:cubicBezTo>
                    <a:lnTo>
                      <a:pt x="607919" y="219812"/>
                    </a:lnTo>
                    <a:cubicBezTo>
                      <a:pt x="607919" y="227318"/>
                      <a:pt x="603534" y="229070"/>
                      <a:pt x="598271" y="223815"/>
                    </a:cubicBezTo>
                    <a:lnTo>
                      <a:pt x="530610" y="156258"/>
                    </a:lnTo>
                    <a:lnTo>
                      <a:pt x="304320" y="382325"/>
                    </a:lnTo>
                    <a:cubicBezTo>
                      <a:pt x="298932" y="387580"/>
                      <a:pt x="290412" y="387580"/>
                      <a:pt x="285024" y="382325"/>
                    </a:cubicBezTo>
                    <a:lnTo>
                      <a:pt x="216360" y="313767"/>
                    </a:lnTo>
                    <a:lnTo>
                      <a:pt x="94068" y="435996"/>
                    </a:lnTo>
                    <a:cubicBezTo>
                      <a:pt x="72767" y="457264"/>
                      <a:pt x="38435" y="457264"/>
                      <a:pt x="17260" y="435996"/>
                    </a:cubicBezTo>
                    <a:lnTo>
                      <a:pt x="15882" y="434745"/>
                    </a:lnTo>
                    <a:cubicBezTo>
                      <a:pt x="-5294" y="413477"/>
                      <a:pt x="-5294" y="379198"/>
                      <a:pt x="15882" y="358055"/>
                    </a:cubicBezTo>
                    <a:lnTo>
                      <a:pt x="206837" y="167267"/>
                    </a:lnTo>
                    <a:cubicBezTo>
                      <a:pt x="212100" y="161888"/>
                      <a:pt x="220745" y="161888"/>
                      <a:pt x="226008" y="167267"/>
                    </a:cubicBezTo>
                    <a:lnTo>
                      <a:pt x="294672" y="235701"/>
                    </a:lnTo>
                    <a:lnTo>
                      <a:pt x="424481" y="105965"/>
                    </a:lnTo>
                    <a:lnTo>
                      <a:pt x="452423" y="78192"/>
                    </a:lnTo>
                    <a:lnTo>
                      <a:pt x="383885" y="9633"/>
                    </a:lnTo>
                    <a:cubicBezTo>
                      <a:pt x="378497" y="4379"/>
                      <a:pt x="380376" y="0"/>
                      <a:pt x="38776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</p:grp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平均旋转延迟时间</a:t>
            </a:r>
          </a:p>
        </p:txBody>
      </p:sp>
      <p:sp>
        <p:nvSpPr>
          <p:cNvPr id="4" name="i$lîďê"/>
          <p:cNvSpPr/>
          <p:nvPr/>
        </p:nvSpPr>
        <p:spPr>
          <a:xfrm>
            <a:off x="1570379" y="3607002"/>
            <a:ext cx="9311989" cy="39287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pPr lvl="1">
              <a:defRPr/>
            </a:pPr>
            <a:r>
              <a:rPr lang="zh-CN" altLang="en-US" sz="2400" dirty="0">
                <a:latin typeface="+mn-ea"/>
                <a:sym typeface="Wingdings" panose="05000000000000000000" pitchFamily="2" charset="2"/>
              </a:rPr>
              <a:t>软盘：旋转速度</a:t>
            </a:r>
            <a:r>
              <a:rPr lang="en-US" altLang="zh-CN" sz="2400" dirty="0">
                <a:latin typeface="+mn-ea"/>
                <a:sym typeface="Wingdings" panose="05000000000000000000" pitchFamily="2" charset="2"/>
              </a:rPr>
              <a:t>300 r/min</a:t>
            </a:r>
            <a:r>
              <a:rPr lang="zh-CN" altLang="en-US" sz="2400" dirty="0">
                <a:latin typeface="+mn-ea"/>
                <a:sym typeface="Wingdings" panose="05000000000000000000" pitchFamily="2" charset="2"/>
              </a:rPr>
              <a:t>或</a:t>
            </a:r>
            <a:r>
              <a:rPr lang="en-US" altLang="zh-CN" sz="2400" dirty="0">
                <a:latin typeface="+mn-ea"/>
                <a:sym typeface="Wingdings" panose="05000000000000000000" pitchFamily="2" charset="2"/>
              </a:rPr>
              <a:t>600 r/min </a:t>
            </a:r>
            <a:r>
              <a:rPr lang="zh-CN" altLang="en-US" sz="2400" dirty="0">
                <a:latin typeface="+mn-ea"/>
                <a:sym typeface="Wingdings" panose="05000000000000000000" pitchFamily="2" charset="2"/>
              </a:rPr>
              <a:t>， </a:t>
            </a:r>
            <a:r>
              <a:rPr lang="en-US" altLang="zh-CN" sz="2400" dirty="0">
                <a:latin typeface="+mn-ea"/>
                <a:sym typeface="Wingdings" panose="05000000000000000000" pitchFamily="2" charset="2"/>
              </a:rPr>
              <a:t>T</a:t>
            </a:r>
            <a:r>
              <a:rPr lang="el-GR" altLang="zh-CN" sz="2400" baseline="-25000" dirty="0">
                <a:latin typeface="+mn-ea"/>
                <a:sym typeface="Wingdings" panose="05000000000000000000" pitchFamily="2" charset="2"/>
              </a:rPr>
              <a:t>τ</a:t>
            </a:r>
            <a:r>
              <a:rPr lang="en-US" altLang="zh-CN" sz="2400" dirty="0">
                <a:latin typeface="+mn-ea"/>
                <a:sym typeface="Wingdings" panose="05000000000000000000" pitchFamily="2" charset="2"/>
              </a:rPr>
              <a:t>=50~100ms</a:t>
            </a:r>
          </a:p>
        </p:txBody>
      </p:sp>
      <p:sp>
        <p:nvSpPr>
          <p:cNvPr id="8" name="íšḻíḑê"/>
          <p:cNvSpPr/>
          <p:nvPr/>
        </p:nvSpPr>
        <p:spPr>
          <a:xfrm>
            <a:off x="1570379" y="2166347"/>
            <a:ext cx="9804982" cy="99527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pPr lvl="1">
              <a:lnSpc>
                <a:spcPct val="132000"/>
              </a:lnSpc>
              <a:defRPr/>
            </a:pPr>
            <a:r>
              <a:rPr lang="zh-CN" altLang="en-US" sz="2400" dirty="0">
                <a:latin typeface="+mn-ea"/>
                <a:sym typeface="Wingdings" panose="05000000000000000000" pitchFamily="2" charset="2"/>
              </a:rPr>
              <a:t>硬盘：典型的旋转速度大多为</a:t>
            </a:r>
            <a:r>
              <a:rPr lang="en-US" altLang="zh-CN" sz="2400" dirty="0">
                <a:latin typeface="+mn-ea"/>
                <a:sym typeface="Wingdings" panose="05000000000000000000" pitchFamily="2" charset="2"/>
              </a:rPr>
              <a:t>5400r/min</a:t>
            </a:r>
            <a:r>
              <a:rPr lang="zh-CN" altLang="en-US" sz="2400" dirty="0">
                <a:latin typeface="+mn-ea"/>
                <a:sym typeface="Wingdings" panose="05000000000000000000" pitchFamily="2" charset="2"/>
              </a:rPr>
              <a:t>（现在大多</a:t>
            </a:r>
            <a:r>
              <a:rPr lang="en-US" altLang="zh-CN" sz="2400" dirty="0">
                <a:latin typeface="+mn-ea"/>
                <a:sym typeface="Wingdings" panose="05000000000000000000" pitchFamily="2" charset="2"/>
              </a:rPr>
              <a:t>7200</a:t>
            </a:r>
            <a:r>
              <a:rPr lang="zh-CN" altLang="en-US" sz="2400" dirty="0">
                <a:latin typeface="+mn-ea"/>
                <a:sym typeface="Wingdings" panose="05000000000000000000" pitchFamily="2" charset="2"/>
              </a:rPr>
              <a:t>），每转需</a:t>
            </a:r>
            <a:r>
              <a:rPr lang="en-US" altLang="zh-CN" sz="2400" dirty="0">
                <a:latin typeface="+mn-ea"/>
                <a:sym typeface="Wingdings" panose="05000000000000000000" pitchFamily="2" charset="2"/>
              </a:rPr>
              <a:t>11.1ms</a:t>
            </a:r>
            <a:r>
              <a:rPr lang="zh-CN" altLang="en-US" sz="2400" dirty="0">
                <a:latin typeface="+mn-ea"/>
                <a:sym typeface="Wingdings" panose="05000000000000000000" pitchFamily="2" charset="2"/>
              </a:rPr>
              <a:t>，平均旋转延迟时间</a:t>
            </a:r>
            <a:r>
              <a:rPr lang="en-US" altLang="zh-CN" sz="2400" dirty="0">
                <a:solidFill>
                  <a:srgbClr val="FF0000"/>
                </a:solidFill>
                <a:latin typeface="+mn-ea"/>
                <a:sym typeface="Wingdings" panose="05000000000000000000" pitchFamily="2" charset="2"/>
              </a:rPr>
              <a:t>T</a:t>
            </a:r>
            <a:r>
              <a:rPr lang="el-GR" altLang="zh-CN" sz="2400" baseline="-25000" dirty="0">
                <a:solidFill>
                  <a:srgbClr val="FF0000"/>
                </a:solidFill>
                <a:latin typeface="+mn-ea"/>
                <a:sym typeface="Wingdings" panose="05000000000000000000" pitchFamily="2" charset="2"/>
              </a:rPr>
              <a:t>τ</a:t>
            </a:r>
            <a:r>
              <a:rPr lang="en-US" altLang="zh-CN" sz="2400" dirty="0">
                <a:solidFill>
                  <a:srgbClr val="FF0000"/>
                </a:solidFill>
                <a:latin typeface="+mn-ea"/>
                <a:sym typeface="Wingdings" panose="05000000000000000000" pitchFamily="2" charset="2"/>
              </a:rPr>
              <a:t>= </a:t>
            </a:r>
            <a:r>
              <a:rPr lang="en-US" altLang="zh-CN" sz="2400" dirty="0">
                <a:solidFill>
                  <a:srgbClr val="FF0000"/>
                </a:solidFill>
                <a:latin typeface="+mn-ea"/>
              </a:rPr>
              <a:t>½</a:t>
            </a:r>
            <a:r>
              <a:rPr lang="zh-CN" altLang="en-US" sz="2400" dirty="0">
                <a:solidFill>
                  <a:srgbClr val="FF0000"/>
                </a:solidFill>
                <a:latin typeface="+mn-ea"/>
              </a:rPr>
              <a:t>*</a:t>
            </a:r>
            <a:r>
              <a:rPr lang="en-US" altLang="zh-CN" sz="2400" dirty="0">
                <a:solidFill>
                  <a:srgbClr val="FF0000"/>
                </a:solidFill>
                <a:latin typeface="+mn-ea"/>
              </a:rPr>
              <a:t>1/(5400/60)</a:t>
            </a:r>
            <a:r>
              <a:rPr lang="en-US" altLang="zh-CN" sz="2400" dirty="0">
                <a:latin typeface="+mn-ea"/>
              </a:rPr>
              <a:t>sec </a:t>
            </a:r>
            <a:r>
              <a:rPr lang="en-US" altLang="zh-CN" sz="2400" dirty="0">
                <a:latin typeface="+mn-ea"/>
                <a:sym typeface="Wingdings" panose="05000000000000000000" pitchFamily="2" charset="2"/>
              </a:rPr>
              <a:t>=5.56ms</a:t>
            </a:r>
          </a:p>
        </p:txBody>
      </p:sp>
      <p:sp>
        <p:nvSpPr>
          <p:cNvPr id="9" name="îSļiḓè"/>
          <p:cNvSpPr/>
          <p:nvPr/>
        </p:nvSpPr>
        <p:spPr>
          <a:xfrm>
            <a:off x="1118977" y="2166855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1" name="îşļiḓè"/>
          <p:cNvSpPr/>
          <p:nvPr/>
        </p:nvSpPr>
        <p:spPr>
          <a:xfrm>
            <a:off x="1118977" y="3489508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ṡḷíďe"/>
          <p:cNvSpPr/>
          <p:nvPr/>
        </p:nvSpPr>
        <p:spPr>
          <a:xfrm>
            <a:off x="1309232" y="2362993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3" name="íSlíḋe"/>
          <p:cNvSpPr/>
          <p:nvPr/>
        </p:nvSpPr>
        <p:spPr>
          <a:xfrm>
            <a:off x="1309231" y="3711525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9" name="íšḻíḑê"/>
          <p:cNvSpPr/>
          <p:nvPr/>
        </p:nvSpPr>
        <p:spPr>
          <a:xfrm>
            <a:off x="669925" y="1121033"/>
            <a:ext cx="9804982" cy="99527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pPr lvl="1">
              <a:lnSpc>
                <a:spcPct val="132000"/>
              </a:lnSpc>
              <a:defRPr/>
            </a:pPr>
            <a:r>
              <a:rPr lang="zh-CN" altLang="en-US" sz="2400" dirty="0">
                <a:latin typeface="+mn-ea"/>
                <a:sym typeface="Wingdings" panose="05000000000000000000" pitchFamily="2" charset="2"/>
              </a:rPr>
              <a:t>把指定扇区移动到磁头下所经历的时间。</a:t>
            </a:r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传输时间</a:t>
            </a:r>
            <a:r>
              <a:rPr lang="en-US" altLang="zh-CN" sz="2800" b="1" dirty="0" err="1">
                <a:solidFill>
                  <a:schemeClr val="bg1"/>
                </a:solidFill>
              </a:rPr>
              <a:t>Tt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3" name="i$lîďê"/>
          <p:cNvSpPr/>
          <p:nvPr/>
        </p:nvSpPr>
        <p:spPr>
          <a:xfrm>
            <a:off x="1544621" y="3014573"/>
            <a:ext cx="9311989" cy="39287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pPr lvl="1">
              <a:defRPr/>
            </a:pPr>
            <a:r>
              <a:rPr lang="en-US" altLang="zh-CN" sz="2400" dirty="0" err="1">
                <a:latin typeface="+mn-ea"/>
                <a:sym typeface="Wingdings" panose="05000000000000000000" pitchFamily="2" charset="2"/>
              </a:rPr>
              <a:t>T</a:t>
            </a:r>
            <a:r>
              <a:rPr lang="en-US" altLang="zh-CN" sz="2400" baseline="-25000" dirty="0" err="1">
                <a:latin typeface="+mn-ea"/>
                <a:sym typeface="Wingdings" panose="05000000000000000000" pitchFamily="2" charset="2"/>
              </a:rPr>
              <a:t>t</a:t>
            </a:r>
            <a:r>
              <a:rPr lang="zh-CN" altLang="en-US" sz="2400" dirty="0">
                <a:latin typeface="+mn-ea"/>
                <a:sym typeface="Wingdings" panose="05000000000000000000" pitchFamily="2" charset="2"/>
              </a:rPr>
              <a:t>的大小与每次所读写的字节数</a:t>
            </a:r>
            <a:r>
              <a:rPr lang="en-US" altLang="zh-CN" sz="2400" dirty="0">
                <a:latin typeface="+mn-ea"/>
                <a:sym typeface="Wingdings" panose="05000000000000000000" pitchFamily="2" charset="2"/>
              </a:rPr>
              <a:t>b</a:t>
            </a:r>
            <a:r>
              <a:rPr lang="zh-CN" altLang="en-US" sz="2400" dirty="0">
                <a:latin typeface="+mn-ea"/>
                <a:sym typeface="Wingdings" panose="05000000000000000000" pitchFamily="2" charset="2"/>
              </a:rPr>
              <a:t>和旋转速度有关</a:t>
            </a:r>
          </a:p>
        </p:txBody>
      </p:sp>
      <p:sp>
        <p:nvSpPr>
          <p:cNvPr id="4" name="íšḻíḑê"/>
          <p:cNvSpPr/>
          <p:nvPr/>
        </p:nvSpPr>
        <p:spPr>
          <a:xfrm>
            <a:off x="1544621" y="1573918"/>
            <a:ext cx="9804982" cy="6283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pPr lvl="1">
              <a:lnSpc>
                <a:spcPct val="132000"/>
              </a:lnSpc>
              <a:defRPr/>
            </a:pPr>
            <a:r>
              <a:rPr lang="zh-CN" altLang="en-US" sz="2400" dirty="0">
                <a:latin typeface="+mn-ea"/>
                <a:sym typeface="Wingdings" panose="05000000000000000000" pitchFamily="2" charset="2"/>
              </a:rPr>
              <a:t>把数据从磁盘读出或向磁盘写入数据所经历的时间</a:t>
            </a:r>
          </a:p>
        </p:txBody>
      </p:sp>
      <p:sp>
        <p:nvSpPr>
          <p:cNvPr id="5" name="îSļiḓè"/>
          <p:cNvSpPr/>
          <p:nvPr/>
        </p:nvSpPr>
        <p:spPr>
          <a:xfrm>
            <a:off x="1093219" y="157442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6" name="îşļiḓè"/>
          <p:cNvSpPr/>
          <p:nvPr/>
        </p:nvSpPr>
        <p:spPr>
          <a:xfrm>
            <a:off x="1093219" y="2897079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7" name="îṡḷíďe"/>
          <p:cNvSpPr/>
          <p:nvPr/>
        </p:nvSpPr>
        <p:spPr>
          <a:xfrm>
            <a:off x="1283474" y="1770564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8" name="íSlíḋe"/>
          <p:cNvSpPr/>
          <p:nvPr/>
        </p:nvSpPr>
        <p:spPr>
          <a:xfrm>
            <a:off x="1283473" y="3119096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graphicFrame>
        <p:nvGraphicFramePr>
          <p:cNvPr id="9" name="Object 6"/>
          <p:cNvGraphicFramePr>
            <a:graphicFrameLocks noChangeAspect="1"/>
          </p:cNvGraphicFramePr>
          <p:nvPr/>
        </p:nvGraphicFramePr>
        <p:xfrm>
          <a:off x="2157247" y="3880042"/>
          <a:ext cx="3496578" cy="1274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2" imgW="520700" imgH="393700" progId="Equation.3">
                  <p:embed/>
                </p:oleObj>
              </mc:Choice>
              <mc:Fallback>
                <p:oleObj name="Equation" r:id="rId2" imgW="520700" imgH="393700" progId="Equation.3">
                  <p:embed/>
                  <p:pic>
                    <p:nvPicPr>
                      <p:cNvPr id="9" name="Object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247" y="3880042"/>
                        <a:ext cx="3496578" cy="1274794"/>
                      </a:xfrm>
                      <a:prstGeom prst="rect">
                        <a:avLst/>
                      </a:prstGeom>
                      <a:solidFill>
                        <a:srgbClr val="FF9933"/>
                      </a:solidFill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内容占位符 2"/>
          <p:cNvSpPr txBox="1"/>
          <p:nvPr/>
        </p:nvSpPr>
        <p:spPr>
          <a:xfrm>
            <a:off x="5885647" y="3869366"/>
            <a:ext cx="4765182" cy="128547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indent="-360045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n"/>
            </a:pPr>
            <a:r>
              <a:rPr lang="en-US" altLang="zh-CN" sz="2400" dirty="0">
                <a:latin typeface="+mn-ea"/>
                <a:sym typeface="Wingdings" panose="05000000000000000000" pitchFamily="2" charset="2"/>
              </a:rPr>
              <a:t>r:</a:t>
            </a:r>
            <a:r>
              <a:rPr lang="zh-CN" altLang="en-US" sz="2400" dirty="0">
                <a:latin typeface="+mn-ea"/>
                <a:sym typeface="Wingdings" panose="05000000000000000000" pitchFamily="2" charset="2"/>
              </a:rPr>
              <a:t>磁盘每秒的转数</a:t>
            </a:r>
          </a:p>
          <a:p>
            <a:pPr lvl="1" indent="-360045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n"/>
            </a:pPr>
            <a:r>
              <a:rPr lang="en-US" altLang="zh-CN" sz="2400" dirty="0">
                <a:latin typeface="+mn-ea"/>
                <a:sym typeface="Wingdings" panose="05000000000000000000" pitchFamily="2" charset="2"/>
              </a:rPr>
              <a:t>N:</a:t>
            </a:r>
            <a:r>
              <a:rPr lang="zh-CN" altLang="en-US" sz="2400" dirty="0">
                <a:latin typeface="+mn-ea"/>
                <a:sym typeface="Wingdings" panose="05000000000000000000" pitchFamily="2" charset="2"/>
              </a:rPr>
              <a:t>一条磁道上的字节数</a:t>
            </a:r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访问时间</a:t>
            </a:r>
            <a:r>
              <a:rPr lang="en-US" altLang="zh-CN" sz="2800" b="1" dirty="0">
                <a:solidFill>
                  <a:schemeClr val="bg1"/>
                </a:solidFill>
              </a:rPr>
              <a:t>T</a:t>
            </a:r>
            <a:r>
              <a:rPr lang="en-US" altLang="zh-CN" sz="2800" b="1" baseline="-25000" dirty="0">
                <a:solidFill>
                  <a:schemeClr val="bg1"/>
                </a:solidFill>
              </a:rPr>
              <a:t>a</a:t>
            </a:r>
            <a:endParaRPr lang="zh-CN" altLang="en-US" sz="2800" b="1" baseline="-25000" dirty="0">
              <a:solidFill>
                <a:schemeClr val="bg1"/>
              </a:solidFill>
            </a:endParaRPr>
          </a:p>
        </p:txBody>
      </p:sp>
      <p:sp>
        <p:nvSpPr>
          <p:cNvPr id="3" name="内容占位符 2"/>
          <p:cNvSpPr txBox="1"/>
          <p:nvPr/>
        </p:nvSpPr>
        <p:spPr>
          <a:xfrm>
            <a:off x="787857" y="1177653"/>
            <a:ext cx="10725855" cy="615042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360045">
              <a:lnSpc>
                <a:spcPct val="132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n"/>
              <a:defRPr/>
            </a:pPr>
            <a:r>
              <a:rPr lang="zh-CN" altLang="en-US" sz="2400" dirty="0">
                <a:latin typeface="+mn-ea"/>
                <a:sym typeface="Wingdings" panose="05000000000000000000" pitchFamily="2" charset="2"/>
              </a:rPr>
              <a:t>当一次读</a:t>
            </a:r>
            <a:r>
              <a:rPr lang="en-US" altLang="zh-CN" sz="2400" dirty="0">
                <a:latin typeface="+mn-ea"/>
                <a:sym typeface="Wingdings" panose="05000000000000000000" pitchFamily="2" charset="2"/>
              </a:rPr>
              <a:t>/</a:t>
            </a:r>
            <a:r>
              <a:rPr lang="zh-CN" altLang="en-US" sz="2400" dirty="0">
                <a:latin typeface="+mn-ea"/>
                <a:sym typeface="Wingdings" panose="05000000000000000000" pitchFamily="2" charset="2"/>
              </a:rPr>
              <a:t>写的字节数相当于半条磁道上的字节数时， </a:t>
            </a:r>
            <a:r>
              <a:rPr lang="en-US" altLang="zh-CN" sz="2400" dirty="0" err="1">
                <a:latin typeface="+mn-ea"/>
                <a:sym typeface="Wingdings" panose="05000000000000000000" pitchFamily="2" charset="2"/>
              </a:rPr>
              <a:t>T</a:t>
            </a:r>
            <a:r>
              <a:rPr lang="en-US" altLang="zh-CN" sz="2400" baseline="-25000" dirty="0" err="1">
                <a:latin typeface="+mn-ea"/>
                <a:sym typeface="Wingdings" panose="05000000000000000000" pitchFamily="2" charset="2"/>
              </a:rPr>
              <a:t>t</a:t>
            </a:r>
            <a:r>
              <a:rPr lang="zh-CN" altLang="en-US" sz="2400" dirty="0">
                <a:latin typeface="+mn-ea"/>
                <a:sym typeface="Wingdings" panose="05000000000000000000" pitchFamily="2" charset="2"/>
              </a:rPr>
              <a:t>与</a:t>
            </a:r>
            <a:r>
              <a:rPr lang="en-US" altLang="zh-CN" sz="2400" dirty="0">
                <a:latin typeface="+mn-ea"/>
                <a:sym typeface="Wingdings" panose="05000000000000000000" pitchFamily="2" charset="2"/>
              </a:rPr>
              <a:t>T</a:t>
            </a:r>
            <a:r>
              <a:rPr lang="el-GR" altLang="zh-CN" sz="2400" baseline="-25000" dirty="0">
                <a:latin typeface="+mn-ea"/>
                <a:sym typeface="Wingdings" panose="05000000000000000000" pitchFamily="2" charset="2"/>
              </a:rPr>
              <a:t>τ</a:t>
            </a:r>
            <a:r>
              <a:rPr lang="zh-CN" altLang="en-US" sz="2400" dirty="0">
                <a:latin typeface="+mn-ea"/>
                <a:sym typeface="Wingdings" panose="05000000000000000000" pitchFamily="2" charset="2"/>
              </a:rPr>
              <a:t>相同，可将</a:t>
            </a:r>
            <a:r>
              <a:rPr lang="zh-CN" altLang="en-US" sz="2400" dirty="0">
                <a:solidFill>
                  <a:srgbClr val="FF0000"/>
                </a:solidFill>
                <a:latin typeface="+mn-ea"/>
                <a:sym typeface="Wingdings" panose="05000000000000000000" pitchFamily="2" charset="2"/>
              </a:rPr>
              <a:t>访问时间</a:t>
            </a:r>
            <a:r>
              <a:rPr lang="en-US" altLang="zh-CN" sz="2400" dirty="0">
                <a:solidFill>
                  <a:srgbClr val="FF0000"/>
                </a:solidFill>
                <a:latin typeface="+mn-ea"/>
                <a:sym typeface="Wingdings" panose="05000000000000000000" pitchFamily="2" charset="2"/>
              </a:rPr>
              <a:t>T</a:t>
            </a:r>
            <a:r>
              <a:rPr lang="en-US" altLang="zh-CN" sz="2400" baseline="-25000" dirty="0">
                <a:solidFill>
                  <a:srgbClr val="FF0000"/>
                </a:solidFill>
                <a:latin typeface="+mn-ea"/>
                <a:sym typeface="Wingdings" panose="05000000000000000000" pitchFamily="2" charset="2"/>
              </a:rPr>
              <a:t>a</a:t>
            </a:r>
            <a:r>
              <a:rPr lang="zh-CN" altLang="en-US" sz="2400" dirty="0">
                <a:latin typeface="+mn-ea"/>
                <a:sym typeface="Wingdings" panose="05000000000000000000" pitchFamily="2" charset="2"/>
              </a:rPr>
              <a:t>表示为：</a:t>
            </a:r>
          </a:p>
          <a:p>
            <a:pPr marL="0" indent="0">
              <a:lnSpc>
                <a:spcPct val="132000"/>
              </a:lnSpc>
              <a:spcBef>
                <a:spcPts val="600"/>
              </a:spcBef>
              <a:buNone/>
              <a:defRPr/>
            </a:pPr>
            <a:endParaRPr lang="zh-CN" altLang="en-US" sz="2400" dirty="0">
              <a:latin typeface="+mn-ea"/>
              <a:sym typeface="Wingdings" panose="05000000000000000000" pitchFamily="2" charset="2"/>
            </a:endParaRPr>
          </a:p>
          <a:p>
            <a:pPr lvl="1">
              <a:lnSpc>
                <a:spcPct val="132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Ø"/>
              <a:defRPr/>
            </a:pPr>
            <a:r>
              <a:rPr lang="zh-CN" altLang="en-US" sz="2400" dirty="0">
                <a:latin typeface="+mn-ea"/>
                <a:sym typeface="Wingdings" panose="05000000000000000000" pitchFamily="2" charset="2"/>
              </a:rPr>
              <a:t>在访问时间中，寻道时间和旋转延迟时间基本上都与所读写数据的多少无关，而且通常占据了访问时间中的大头。</a:t>
            </a:r>
          </a:p>
          <a:p>
            <a:pPr indent="-360045">
              <a:lnSpc>
                <a:spcPct val="132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n"/>
              <a:defRPr/>
            </a:pPr>
            <a:r>
              <a:rPr lang="zh-CN" altLang="en-US" sz="2400" dirty="0">
                <a:latin typeface="+mn-ea"/>
              </a:rPr>
              <a:t>例子：</a:t>
            </a:r>
            <a:r>
              <a:rPr lang="en-US" altLang="zh-CN" sz="2400" dirty="0">
                <a:latin typeface="+mn-ea"/>
              </a:rPr>
              <a:t>4KB</a:t>
            </a:r>
            <a:r>
              <a:rPr lang="zh-CN" altLang="en-US" sz="2400" dirty="0">
                <a:latin typeface="+mn-ea"/>
              </a:rPr>
              <a:t>块，</a:t>
            </a:r>
            <a:r>
              <a:rPr lang="en-US" altLang="zh-CN" sz="2400" dirty="0">
                <a:latin typeface="+mn-ea"/>
              </a:rPr>
              <a:t> 5400 </a:t>
            </a:r>
            <a:r>
              <a:rPr lang="en-US" altLang="zh-CN" sz="2400" dirty="0">
                <a:latin typeface="+mn-ea"/>
                <a:sym typeface="Wingdings" panose="05000000000000000000" pitchFamily="2" charset="2"/>
              </a:rPr>
              <a:t>r/min</a:t>
            </a:r>
            <a:r>
              <a:rPr lang="zh-CN" altLang="en-US" sz="2400" dirty="0">
                <a:latin typeface="+mn-ea"/>
              </a:rPr>
              <a:t>磁盘，</a:t>
            </a:r>
            <a:r>
              <a:rPr lang="en-US" altLang="zh-CN" sz="2400" dirty="0">
                <a:latin typeface="+mn-ea"/>
              </a:rPr>
              <a:t> 5ms</a:t>
            </a:r>
            <a:r>
              <a:rPr lang="zh-CN" altLang="en-US" sz="2400" dirty="0">
                <a:latin typeface="+mn-ea"/>
              </a:rPr>
              <a:t>平均寻道时间，</a:t>
            </a:r>
            <a:r>
              <a:rPr lang="en-US" altLang="zh-CN" sz="2400" dirty="0">
                <a:latin typeface="+mn-ea"/>
              </a:rPr>
              <a:t> 1Gb/sec</a:t>
            </a:r>
            <a:r>
              <a:rPr lang="zh-CN" altLang="en-US" sz="2400" dirty="0">
                <a:latin typeface="+mn-ea"/>
              </a:rPr>
              <a:t>传输率，</a:t>
            </a:r>
            <a:r>
              <a:rPr lang="en-US" altLang="zh-CN" sz="2400" dirty="0">
                <a:latin typeface="+mn-ea"/>
              </a:rPr>
              <a:t>0 .1ms </a:t>
            </a:r>
            <a:r>
              <a:rPr lang="zh-CN" altLang="en-US" sz="2400" dirty="0">
                <a:latin typeface="+mn-ea"/>
              </a:rPr>
              <a:t>控制开销</a:t>
            </a:r>
            <a:endParaRPr lang="en-US" altLang="zh-CN" sz="2400" dirty="0">
              <a:latin typeface="+mn-ea"/>
            </a:endParaRPr>
          </a:p>
          <a:p>
            <a:pPr marL="457200" lvl="1" indent="0">
              <a:lnSpc>
                <a:spcPct val="132000"/>
              </a:lnSpc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r>
              <a:rPr lang="en-US" altLang="zh-CN" sz="2400" dirty="0">
                <a:latin typeface="+mn-ea"/>
              </a:rPr>
              <a:t>T</a:t>
            </a:r>
            <a:r>
              <a:rPr lang="en-US" altLang="zh-CN" sz="2400" baseline="-25000" dirty="0">
                <a:latin typeface="+mn-ea"/>
              </a:rPr>
              <a:t>a</a:t>
            </a:r>
            <a:r>
              <a:rPr lang="en-US" altLang="zh-CN" sz="2400" dirty="0">
                <a:latin typeface="+mn-ea"/>
              </a:rPr>
              <a:t>=5ms + ½</a:t>
            </a:r>
            <a:r>
              <a:rPr lang="zh-CN" altLang="en-US" sz="2400" dirty="0">
                <a:latin typeface="+mn-ea"/>
              </a:rPr>
              <a:t>*</a:t>
            </a:r>
            <a:r>
              <a:rPr lang="en-US" altLang="zh-CN" sz="2400" dirty="0">
                <a:latin typeface="+mn-ea"/>
              </a:rPr>
              <a:t>1/(5400/60)sec + 4KB / 1Gb/sec + 0.1ms </a:t>
            </a:r>
          </a:p>
          <a:p>
            <a:pPr marL="457200" lvl="1" indent="0">
              <a:lnSpc>
                <a:spcPct val="132000"/>
              </a:lnSpc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r>
              <a:rPr lang="en-US" altLang="zh-CN" sz="2400" dirty="0">
                <a:latin typeface="+mn-ea"/>
              </a:rPr>
              <a:t>=5.1ms + 5.56ms+0.04ms </a:t>
            </a:r>
          </a:p>
          <a:p>
            <a:pPr marL="457200" lvl="1" indent="0">
              <a:lnSpc>
                <a:spcPct val="132000"/>
              </a:lnSpc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r>
              <a:rPr lang="en-US" altLang="zh-CN" sz="2400" dirty="0">
                <a:latin typeface="+mn-ea"/>
              </a:rPr>
              <a:t>=10.7ms</a:t>
            </a:r>
          </a:p>
          <a:p>
            <a:pPr>
              <a:lnSpc>
                <a:spcPct val="132000"/>
              </a:lnSpc>
              <a:spcBef>
                <a:spcPts val="600"/>
              </a:spcBef>
              <a:defRPr/>
            </a:pPr>
            <a:endParaRPr lang="zh-CN" altLang="en-US" sz="2400" dirty="0">
              <a:latin typeface="+mn-ea"/>
            </a:endParaRPr>
          </a:p>
        </p:txBody>
      </p:sp>
      <p:graphicFrame>
        <p:nvGraphicFramePr>
          <p:cNvPr id="4" name="Object 6"/>
          <p:cNvGraphicFramePr>
            <a:graphicFrameLocks noChangeAspect="1"/>
          </p:cNvGraphicFramePr>
          <p:nvPr/>
        </p:nvGraphicFramePr>
        <p:xfrm>
          <a:off x="3685556" y="1786163"/>
          <a:ext cx="6952393" cy="9358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2" imgW="1104900" imgH="393700" progId="Equation.3">
                  <p:embed/>
                </p:oleObj>
              </mc:Choice>
              <mc:Fallback>
                <p:oleObj name="Equation" r:id="rId2" imgW="1104900" imgH="393700" progId="Equation.3">
                  <p:embed/>
                  <p:pic>
                    <p:nvPicPr>
                      <p:cNvPr id="4" name="Object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685556" y="1786163"/>
                        <a:ext cx="6952393" cy="935899"/>
                      </a:xfrm>
                      <a:prstGeom prst="rect">
                        <a:avLst/>
                      </a:prstGeom>
                      <a:solidFill>
                        <a:srgbClr val="FF9933"/>
                      </a:solidFill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7.8.2 </a:t>
            </a:r>
            <a:r>
              <a:rPr lang="zh-CN" altLang="en-US" sz="2800" b="1" dirty="0">
                <a:solidFill>
                  <a:schemeClr val="bg1"/>
                </a:solidFill>
              </a:rPr>
              <a:t>早期的磁盘调度算法</a:t>
            </a:r>
          </a:p>
        </p:txBody>
      </p:sp>
      <p:sp>
        <p:nvSpPr>
          <p:cNvPr id="3" name="iṥlídè"/>
          <p:cNvSpPr/>
          <p:nvPr/>
        </p:nvSpPr>
        <p:spPr>
          <a:xfrm>
            <a:off x="6958245" y="1128057"/>
            <a:ext cx="5233755" cy="5008286"/>
          </a:xfrm>
          <a:prstGeom prst="rect">
            <a:avLst/>
          </a:prstGeom>
          <a:blipFill>
            <a:blip r:embed="rId2"/>
            <a:stretch>
              <a:fillRect t="-27413" b="-27272"/>
            </a:stretch>
          </a:blipFill>
          <a:ln w="28575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lang="zh-CN" altLang="en-US" dirty="0"/>
          </a:p>
        </p:txBody>
      </p:sp>
      <p:grpSp>
        <p:nvGrpSpPr>
          <p:cNvPr id="4" name="iṡļiḓe"/>
          <p:cNvGrpSpPr/>
          <p:nvPr/>
        </p:nvGrpSpPr>
        <p:grpSpPr>
          <a:xfrm>
            <a:off x="669925" y="1718277"/>
            <a:ext cx="5869189" cy="1573522"/>
            <a:chOff x="660400" y="1787149"/>
            <a:chExt cx="5869189" cy="1573522"/>
          </a:xfrm>
        </p:grpSpPr>
        <p:sp>
          <p:nvSpPr>
            <p:cNvPr id="9" name="îṧľîḋé"/>
            <p:cNvSpPr txBox="1"/>
            <p:nvPr/>
          </p:nvSpPr>
          <p:spPr>
            <a:xfrm>
              <a:off x="1296567" y="1835355"/>
              <a:ext cx="5233022" cy="1525316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2000"/>
                </a:lnSpc>
              </a:pPr>
              <a:r>
                <a:rPr lang="zh-CN" altLang="en-US" sz="2400" dirty="0">
                  <a:sym typeface="Wingdings" panose="05000000000000000000" pitchFamily="2" charset="2"/>
                </a:rPr>
                <a:t>磁盘是可供多个进程共享的设备，当有多个进程都要求访问磁盘时，应采用一种最佳调度算法，以使各进程</a:t>
              </a:r>
              <a:r>
                <a:rPr lang="zh-CN" altLang="en-US" sz="2400" u="sng" dirty="0">
                  <a:sym typeface="Wingdings" panose="05000000000000000000" pitchFamily="2" charset="2"/>
                </a:rPr>
                <a:t>对磁盘的平均访问时间最小</a:t>
              </a:r>
              <a:r>
                <a:rPr lang="zh-CN" altLang="en-US" sz="2400" dirty="0">
                  <a:sym typeface="Wingdings" panose="05000000000000000000" pitchFamily="2" charset="2"/>
                </a:rPr>
                <a:t>。</a:t>
              </a:r>
              <a:endParaRPr lang="en-US" altLang="zh-CN" sz="2400" dirty="0">
                <a:sym typeface="Wingdings" panose="05000000000000000000" pitchFamily="2" charset="2"/>
              </a:endParaRPr>
            </a:p>
          </p:txBody>
        </p:sp>
        <p:grpSp>
          <p:nvGrpSpPr>
            <p:cNvPr id="6" name="ïS1íḋé"/>
            <p:cNvGrpSpPr/>
            <p:nvPr/>
          </p:nvGrpSpPr>
          <p:grpSpPr>
            <a:xfrm>
              <a:off x="660400" y="1787149"/>
              <a:ext cx="497734" cy="497734"/>
              <a:chOff x="660400" y="1787149"/>
              <a:chExt cx="497734" cy="497734"/>
            </a:xfrm>
          </p:grpSpPr>
          <p:sp>
            <p:nvSpPr>
              <p:cNvPr id="7" name="islîḋe"/>
              <p:cNvSpPr/>
              <p:nvPr/>
            </p:nvSpPr>
            <p:spPr>
              <a:xfrm>
                <a:off x="660400" y="1787149"/>
                <a:ext cx="497734" cy="497734"/>
              </a:xfrm>
              <a:prstGeom prst="ellipse">
                <a:avLst/>
              </a:prstGeom>
              <a:solidFill>
                <a:schemeClr val="accent1"/>
              </a:solidFill>
              <a:ln w="19050">
                <a:solidFill>
                  <a:schemeClr val="bg1"/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925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>
                  <a:lnSpc>
                    <a:spcPct val="132000"/>
                  </a:lnSpc>
                </a:pPr>
                <a:endParaRPr lang="zh-CN" altLang="en-US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" name="îŝlîďe"/>
              <p:cNvSpPr/>
              <p:nvPr/>
            </p:nvSpPr>
            <p:spPr>
              <a:xfrm>
                <a:off x="779848" y="1918584"/>
                <a:ext cx="258838" cy="234864"/>
              </a:xfrm>
              <a:custGeom>
                <a:avLst/>
                <a:gdLst>
                  <a:gd name="connsiteX0" fmla="*/ 116112 w 607919"/>
                  <a:gd name="connsiteY0" fmla="*/ 473652 h 551610"/>
                  <a:gd name="connsiteX1" fmla="*/ 118901 w 607919"/>
                  <a:gd name="connsiteY1" fmla="*/ 480423 h 551610"/>
                  <a:gd name="connsiteX2" fmla="*/ 118901 w 607919"/>
                  <a:gd name="connsiteY2" fmla="*/ 551610 h 551610"/>
                  <a:gd name="connsiteX3" fmla="*/ 55604 w 607919"/>
                  <a:gd name="connsiteY3" fmla="*/ 551610 h 551610"/>
                  <a:gd name="connsiteX4" fmla="*/ 55604 w 607919"/>
                  <a:gd name="connsiteY4" fmla="*/ 540851 h 551610"/>
                  <a:gd name="connsiteX5" fmla="*/ 65255 w 607919"/>
                  <a:gd name="connsiteY5" fmla="*/ 520583 h 551610"/>
                  <a:gd name="connsiteX6" fmla="*/ 83555 w 607919"/>
                  <a:gd name="connsiteY6" fmla="*/ 502317 h 551610"/>
                  <a:gd name="connsiteX7" fmla="*/ 109375 w 607919"/>
                  <a:gd name="connsiteY7" fmla="*/ 476545 h 551610"/>
                  <a:gd name="connsiteX8" fmla="*/ 116112 w 607919"/>
                  <a:gd name="connsiteY8" fmla="*/ 473652 h 551610"/>
                  <a:gd name="connsiteX9" fmla="*/ 199155 w 607919"/>
                  <a:gd name="connsiteY9" fmla="*/ 390799 h 551610"/>
                  <a:gd name="connsiteX10" fmla="*/ 201956 w 607919"/>
                  <a:gd name="connsiteY10" fmla="*/ 397632 h 551610"/>
                  <a:gd name="connsiteX11" fmla="*/ 201956 w 607919"/>
                  <a:gd name="connsiteY11" fmla="*/ 551610 h 551610"/>
                  <a:gd name="connsiteX12" fmla="*/ 145363 w 607919"/>
                  <a:gd name="connsiteY12" fmla="*/ 551610 h 551610"/>
                  <a:gd name="connsiteX13" fmla="*/ 145363 w 607919"/>
                  <a:gd name="connsiteY13" fmla="*/ 454170 h 551610"/>
                  <a:gd name="connsiteX14" fmla="*/ 154879 w 607919"/>
                  <a:gd name="connsiteY14" fmla="*/ 431030 h 551610"/>
                  <a:gd name="connsiteX15" fmla="*/ 192315 w 607919"/>
                  <a:gd name="connsiteY15" fmla="*/ 393630 h 551610"/>
                  <a:gd name="connsiteX16" fmla="*/ 199155 w 607919"/>
                  <a:gd name="connsiteY16" fmla="*/ 390799 h 551610"/>
                  <a:gd name="connsiteX17" fmla="*/ 231082 w 607919"/>
                  <a:gd name="connsiteY17" fmla="*/ 388245 h 551610"/>
                  <a:gd name="connsiteX18" fmla="*/ 237930 w 607919"/>
                  <a:gd name="connsiteY18" fmla="*/ 391091 h 551610"/>
                  <a:gd name="connsiteX19" fmla="*/ 266763 w 607919"/>
                  <a:gd name="connsiteY19" fmla="*/ 419867 h 551610"/>
                  <a:gd name="connsiteX20" fmla="*/ 275915 w 607919"/>
                  <a:gd name="connsiteY20" fmla="*/ 428875 h 551610"/>
                  <a:gd name="connsiteX21" fmla="*/ 284941 w 607919"/>
                  <a:gd name="connsiteY21" fmla="*/ 451520 h 551610"/>
                  <a:gd name="connsiteX22" fmla="*/ 284941 w 607919"/>
                  <a:gd name="connsiteY22" fmla="*/ 551610 h 551610"/>
                  <a:gd name="connsiteX23" fmla="*/ 228277 w 607919"/>
                  <a:gd name="connsiteY23" fmla="*/ 551610 h 551610"/>
                  <a:gd name="connsiteX24" fmla="*/ 228277 w 607919"/>
                  <a:gd name="connsiteY24" fmla="*/ 394969 h 551610"/>
                  <a:gd name="connsiteX25" fmla="*/ 231082 w 607919"/>
                  <a:gd name="connsiteY25" fmla="*/ 388245 h 551610"/>
                  <a:gd name="connsiteX26" fmla="*/ 365148 w 607919"/>
                  <a:gd name="connsiteY26" fmla="*/ 381336 h 551610"/>
                  <a:gd name="connsiteX27" fmla="*/ 367997 w 607919"/>
                  <a:gd name="connsiteY27" fmla="*/ 388122 h 551610"/>
                  <a:gd name="connsiteX28" fmla="*/ 367997 w 607919"/>
                  <a:gd name="connsiteY28" fmla="*/ 551610 h 551610"/>
                  <a:gd name="connsiteX29" fmla="*/ 311262 w 607919"/>
                  <a:gd name="connsiteY29" fmla="*/ 551610 h 551610"/>
                  <a:gd name="connsiteX30" fmla="*/ 311262 w 607919"/>
                  <a:gd name="connsiteY30" fmla="*/ 444661 h 551610"/>
                  <a:gd name="connsiteX31" fmla="*/ 316898 w 607919"/>
                  <a:gd name="connsiteY31" fmla="*/ 425523 h 551610"/>
                  <a:gd name="connsiteX32" fmla="*/ 322534 w 607919"/>
                  <a:gd name="connsiteY32" fmla="*/ 419894 h 551610"/>
                  <a:gd name="connsiteX33" fmla="*/ 358353 w 607919"/>
                  <a:gd name="connsiteY33" fmla="*/ 384120 h 551610"/>
                  <a:gd name="connsiteX34" fmla="*/ 365148 w 607919"/>
                  <a:gd name="connsiteY34" fmla="*/ 381336 h 551610"/>
                  <a:gd name="connsiteX35" fmla="*/ 448177 w 607919"/>
                  <a:gd name="connsiteY35" fmla="*/ 298352 h 551610"/>
                  <a:gd name="connsiteX36" fmla="*/ 450982 w 607919"/>
                  <a:gd name="connsiteY36" fmla="*/ 305139 h 551610"/>
                  <a:gd name="connsiteX37" fmla="*/ 450982 w 607919"/>
                  <a:gd name="connsiteY37" fmla="*/ 551610 h 551610"/>
                  <a:gd name="connsiteX38" fmla="*/ 394318 w 607919"/>
                  <a:gd name="connsiteY38" fmla="*/ 551610 h 551610"/>
                  <a:gd name="connsiteX39" fmla="*/ 394318 w 607919"/>
                  <a:gd name="connsiteY39" fmla="*/ 361815 h 551610"/>
                  <a:gd name="connsiteX40" fmla="*/ 403846 w 607919"/>
                  <a:gd name="connsiteY40" fmla="*/ 338669 h 551610"/>
                  <a:gd name="connsiteX41" fmla="*/ 441329 w 607919"/>
                  <a:gd name="connsiteY41" fmla="*/ 301136 h 551610"/>
                  <a:gd name="connsiteX42" fmla="*/ 448177 w 607919"/>
                  <a:gd name="connsiteY42" fmla="*/ 298352 h 551610"/>
                  <a:gd name="connsiteX43" fmla="*/ 527085 w 607919"/>
                  <a:gd name="connsiteY43" fmla="*/ 219452 h 551610"/>
                  <a:gd name="connsiteX44" fmla="*/ 529874 w 607919"/>
                  <a:gd name="connsiteY44" fmla="*/ 226177 h 551610"/>
                  <a:gd name="connsiteX45" fmla="*/ 529874 w 607919"/>
                  <a:gd name="connsiteY45" fmla="*/ 551610 h 551610"/>
                  <a:gd name="connsiteX46" fmla="*/ 477232 w 607919"/>
                  <a:gd name="connsiteY46" fmla="*/ 551610 h 551610"/>
                  <a:gd name="connsiteX47" fmla="*/ 477232 w 607919"/>
                  <a:gd name="connsiteY47" fmla="*/ 278727 h 551610"/>
                  <a:gd name="connsiteX48" fmla="*/ 486883 w 607919"/>
                  <a:gd name="connsiteY48" fmla="*/ 255580 h 551610"/>
                  <a:gd name="connsiteX49" fmla="*/ 520348 w 607919"/>
                  <a:gd name="connsiteY49" fmla="*/ 222298 h 551610"/>
                  <a:gd name="connsiteX50" fmla="*/ 527085 w 607919"/>
                  <a:gd name="connsiteY50" fmla="*/ 219452 h 551610"/>
                  <a:gd name="connsiteX51" fmla="*/ 387769 w 607919"/>
                  <a:gd name="connsiteY51" fmla="*/ 0 h 551610"/>
                  <a:gd name="connsiteX52" fmla="*/ 580729 w 607919"/>
                  <a:gd name="connsiteY52" fmla="*/ 0 h 551610"/>
                  <a:gd name="connsiteX53" fmla="*/ 607919 w 607919"/>
                  <a:gd name="connsiteY53" fmla="*/ 26022 h 551610"/>
                  <a:gd name="connsiteX54" fmla="*/ 607919 w 607919"/>
                  <a:gd name="connsiteY54" fmla="*/ 219812 h 551610"/>
                  <a:gd name="connsiteX55" fmla="*/ 598271 w 607919"/>
                  <a:gd name="connsiteY55" fmla="*/ 223815 h 551610"/>
                  <a:gd name="connsiteX56" fmla="*/ 530610 w 607919"/>
                  <a:gd name="connsiteY56" fmla="*/ 156258 h 551610"/>
                  <a:gd name="connsiteX57" fmla="*/ 304320 w 607919"/>
                  <a:gd name="connsiteY57" fmla="*/ 382325 h 551610"/>
                  <a:gd name="connsiteX58" fmla="*/ 285024 w 607919"/>
                  <a:gd name="connsiteY58" fmla="*/ 382325 h 551610"/>
                  <a:gd name="connsiteX59" fmla="*/ 216360 w 607919"/>
                  <a:gd name="connsiteY59" fmla="*/ 313767 h 551610"/>
                  <a:gd name="connsiteX60" fmla="*/ 94068 w 607919"/>
                  <a:gd name="connsiteY60" fmla="*/ 435996 h 551610"/>
                  <a:gd name="connsiteX61" fmla="*/ 17260 w 607919"/>
                  <a:gd name="connsiteY61" fmla="*/ 435996 h 551610"/>
                  <a:gd name="connsiteX62" fmla="*/ 15882 w 607919"/>
                  <a:gd name="connsiteY62" fmla="*/ 434745 h 551610"/>
                  <a:gd name="connsiteX63" fmla="*/ 15882 w 607919"/>
                  <a:gd name="connsiteY63" fmla="*/ 358055 h 551610"/>
                  <a:gd name="connsiteX64" fmla="*/ 206837 w 607919"/>
                  <a:gd name="connsiteY64" fmla="*/ 167267 h 551610"/>
                  <a:gd name="connsiteX65" fmla="*/ 226008 w 607919"/>
                  <a:gd name="connsiteY65" fmla="*/ 167267 h 551610"/>
                  <a:gd name="connsiteX66" fmla="*/ 294672 w 607919"/>
                  <a:gd name="connsiteY66" fmla="*/ 235701 h 551610"/>
                  <a:gd name="connsiteX67" fmla="*/ 424481 w 607919"/>
                  <a:gd name="connsiteY67" fmla="*/ 105965 h 551610"/>
                  <a:gd name="connsiteX68" fmla="*/ 452423 w 607919"/>
                  <a:gd name="connsiteY68" fmla="*/ 78192 h 551610"/>
                  <a:gd name="connsiteX69" fmla="*/ 383885 w 607919"/>
                  <a:gd name="connsiteY69" fmla="*/ 9633 h 551610"/>
                  <a:gd name="connsiteX70" fmla="*/ 387769 w 607919"/>
                  <a:gd name="connsiteY70" fmla="*/ 0 h 551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607919" h="551610">
                    <a:moveTo>
                      <a:pt x="116112" y="473652"/>
                    </a:moveTo>
                    <a:cubicBezTo>
                      <a:pt x="117836" y="474356"/>
                      <a:pt x="118901" y="476670"/>
                      <a:pt x="118901" y="480423"/>
                    </a:cubicBezTo>
                    <a:lnTo>
                      <a:pt x="118901" y="551610"/>
                    </a:lnTo>
                    <a:lnTo>
                      <a:pt x="55604" y="551610"/>
                    </a:lnTo>
                    <a:lnTo>
                      <a:pt x="55604" y="540851"/>
                    </a:lnTo>
                    <a:cubicBezTo>
                      <a:pt x="55604" y="534971"/>
                      <a:pt x="59991" y="525838"/>
                      <a:pt x="65255" y="520583"/>
                    </a:cubicBezTo>
                    <a:lnTo>
                      <a:pt x="83555" y="502317"/>
                    </a:lnTo>
                    <a:lnTo>
                      <a:pt x="109375" y="476545"/>
                    </a:lnTo>
                    <a:cubicBezTo>
                      <a:pt x="112007" y="473855"/>
                      <a:pt x="114389" y="472948"/>
                      <a:pt x="116112" y="473652"/>
                    </a:cubicBezTo>
                    <a:close/>
                    <a:moveTo>
                      <a:pt x="199155" y="390799"/>
                    </a:moveTo>
                    <a:cubicBezTo>
                      <a:pt x="200892" y="391534"/>
                      <a:pt x="201956" y="393880"/>
                      <a:pt x="201956" y="397632"/>
                    </a:cubicBezTo>
                    <a:lnTo>
                      <a:pt x="201956" y="551610"/>
                    </a:lnTo>
                    <a:lnTo>
                      <a:pt x="145363" y="551610"/>
                    </a:lnTo>
                    <a:lnTo>
                      <a:pt x="145363" y="454170"/>
                    </a:lnTo>
                    <a:cubicBezTo>
                      <a:pt x="145363" y="446665"/>
                      <a:pt x="149620" y="436283"/>
                      <a:pt x="154879" y="431030"/>
                    </a:cubicBezTo>
                    <a:lnTo>
                      <a:pt x="192315" y="393630"/>
                    </a:lnTo>
                    <a:cubicBezTo>
                      <a:pt x="195007" y="390941"/>
                      <a:pt x="197417" y="390065"/>
                      <a:pt x="199155" y="390799"/>
                    </a:cubicBezTo>
                    <a:close/>
                    <a:moveTo>
                      <a:pt x="231082" y="388245"/>
                    </a:moveTo>
                    <a:cubicBezTo>
                      <a:pt x="232822" y="387525"/>
                      <a:pt x="235235" y="388401"/>
                      <a:pt x="237930" y="391091"/>
                    </a:cubicBezTo>
                    <a:lnTo>
                      <a:pt x="266763" y="419867"/>
                    </a:lnTo>
                    <a:lnTo>
                      <a:pt x="275915" y="428875"/>
                    </a:lnTo>
                    <a:cubicBezTo>
                      <a:pt x="280929" y="433879"/>
                      <a:pt x="284941" y="444013"/>
                      <a:pt x="284941" y="451520"/>
                    </a:cubicBezTo>
                    <a:lnTo>
                      <a:pt x="284941" y="551610"/>
                    </a:lnTo>
                    <a:lnTo>
                      <a:pt x="228277" y="551610"/>
                    </a:lnTo>
                    <a:lnTo>
                      <a:pt x="228277" y="394969"/>
                    </a:lnTo>
                    <a:cubicBezTo>
                      <a:pt x="228277" y="391278"/>
                      <a:pt x="229343" y="388964"/>
                      <a:pt x="231082" y="388245"/>
                    </a:cubicBezTo>
                    <a:close/>
                    <a:moveTo>
                      <a:pt x="365148" y="381336"/>
                    </a:moveTo>
                    <a:cubicBezTo>
                      <a:pt x="366901" y="382055"/>
                      <a:pt x="367997" y="384370"/>
                      <a:pt x="367997" y="388122"/>
                    </a:cubicBezTo>
                    <a:lnTo>
                      <a:pt x="367997" y="551610"/>
                    </a:lnTo>
                    <a:lnTo>
                      <a:pt x="311262" y="551610"/>
                    </a:lnTo>
                    <a:lnTo>
                      <a:pt x="311262" y="444661"/>
                    </a:lnTo>
                    <a:cubicBezTo>
                      <a:pt x="311262" y="437156"/>
                      <a:pt x="313767" y="428650"/>
                      <a:pt x="316898" y="425523"/>
                    </a:cubicBezTo>
                    <a:cubicBezTo>
                      <a:pt x="320029" y="422396"/>
                      <a:pt x="322534" y="419894"/>
                      <a:pt x="322534" y="419894"/>
                    </a:cubicBezTo>
                    <a:lnTo>
                      <a:pt x="358353" y="384120"/>
                    </a:lnTo>
                    <a:cubicBezTo>
                      <a:pt x="360983" y="381493"/>
                      <a:pt x="363394" y="380617"/>
                      <a:pt x="365148" y="381336"/>
                    </a:cubicBezTo>
                    <a:close/>
                    <a:moveTo>
                      <a:pt x="448177" y="298352"/>
                    </a:moveTo>
                    <a:cubicBezTo>
                      <a:pt x="449916" y="299071"/>
                      <a:pt x="450982" y="301386"/>
                      <a:pt x="450982" y="305139"/>
                    </a:cubicBezTo>
                    <a:lnTo>
                      <a:pt x="450982" y="551610"/>
                    </a:lnTo>
                    <a:lnTo>
                      <a:pt x="394318" y="551610"/>
                    </a:lnTo>
                    <a:lnTo>
                      <a:pt x="394318" y="361815"/>
                    </a:lnTo>
                    <a:cubicBezTo>
                      <a:pt x="394318" y="354308"/>
                      <a:pt x="398580" y="343924"/>
                      <a:pt x="403846" y="338669"/>
                    </a:cubicBezTo>
                    <a:lnTo>
                      <a:pt x="441329" y="301136"/>
                    </a:lnTo>
                    <a:cubicBezTo>
                      <a:pt x="444024" y="298508"/>
                      <a:pt x="446438" y="297633"/>
                      <a:pt x="448177" y="298352"/>
                    </a:cubicBezTo>
                    <a:close/>
                    <a:moveTo>
                      <a:pt x="527085" y="219452"/>
                    </a:moveTo>
                    <a:cubicBezTo>
                      <a:pt x="528809" y="220171"/>
                      <a:pt x="529874" y="222486"/>
                      <a:pt x="529874" y="226177"/>
                    </a:cubicBezTo>
                    <a:lnTo>
                      <a:pt x="529874" y="551610"/>
                    </a:lnTo>
                    <a:lnTo>
                      <a:pt x="477232" y="551610"/>
                    </a:lnTo>
                    <a:lnTo>
                      <a:pt x="477232" y="278727"/>
                    </a:lnTo>
                    <a:cubicBezTo>
                      <a:pt x="477232" y="271345"/>
                      <a:pt x="481494" y="260960"/>
                      <a:pt x="486883" y="255580"/>
                    </a:cubicBezTo>
                    <a:lnTo>
                      <a:pt x="520348" y="222298"/>
                    </a:lnTo>
                    <a:cubicBezTo>
                      <a:pt x="522980" y="219608"/>
                      <a:pt x="525362" y="218732"/>
                      <a:pt x="527085" y="219452"/>
                    </a:cubicBezTo>
                    <a:close/>
                    <a:moveTo>
                      <a:pt x="387769" y="0"/>
                    </a:moveTo>
                    <a:lnTo>
                      <a:pt x="580729" y="0"/>
                    </a:lnTo>
                    <a:cubicBezTo>
                      <a:pt x="594512" y="0"/>
                      <a:pt x="607919" y="12135"/>
                      <a:pt x="607919" y="26022"/>
                    </a:cubicBezTo>
                    <a:lnTo>
                      <a:pt x="607919" y="219812"/>
                    </a:lnTo>
                    <a:cubicBezTo>
                      <a:pt x="607919" y="227318"/>
                      <a:pt x="603534" y="229070"/>
                      <a:pt x="598271" y="223815"/>
                    </a:cubicBezTo>
                    <a:lnTo>
                      <a:pt x="530610" y="156258"/>
                    </a:lnTo>
                    <a:lnTo>
                      <a:pt x="304320" y="382325"/>
                    </a:lnTo>
                    <a:cubicBezTo>
                      <a:pt x="298932" y="387580"/>
                      <a:pt x="290412" y="387580"/>
                      <a:pt x="285024" y="382325"/>
                    </a:cubicBezTo>
                    <a:lnTo>
                      <a:pt x="216360" y="313767"/>
                    </a:lnTo>
                    <a:lnTo>
                      <a:pt x="94068" y="435996"/>
                    </a:lnTo>
                    <a:cubicBezTo>
                      <a:pt x="72767" y="457264"/>
                      <a:pt x="38435" y="457264"/>
                      <a:pt x="17260" y="435996"/>
                    </a:cubicBezTo>
                    <a:lnTo>
                      <a:pt x="15882" y="434745"/>
                    </a:lnTo>
                    <a:cubicBezTo>
                      <a:pt x="-5294" y="413477"/>
                      <a:pt x="-5294" y="379198"/>
                      <a:pt x="15882" y="358055"/>
                    </a:cubicBezTo>
                    <a:lnTo>
                      <a:pt x="206837" y="167267"/>
                    </a:lnTo>
                    <a:cubicBezTo>
                      <a:pt x="212100" y="161888"/>
                      <a:pt x="220745" y="161888"/>
                      <a:pt x="226008" y="167267"/>
                    </a:cubicBezTo>
                    <a:lnTo>
                      <a:pt x="294672" y="235701"/>
                    </a:lnTo>
                    <a:lnTo>
                      <a:pt x="424481" y="105965"/>
                    </a:lnTo>
                    <a:lnTo>
                      <a:pt x="452423" y="78192"/>
                    </a:lnTo>
                    <a:lnTo>
                      <a:pt x="383885" y="9633"/>
                    </a:lnTo>
                    <a:cubicBezTo>
                      <a:pt x="378497" y="4379"/>
                      <a:pt x="380376" y="0"/>
                      <a:pt x="38776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3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>
                  <a:lnSpc>
                    <a:spcPct val="152000"/>
                  </a:lnSpc>
                </a:pPr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11" name="iŝļïḓê"/>
          <p:cNvGrpSpPr/>
          <p:nvPr/>
        </p:nvGrpSpPr>
        <p:grpSpPr>
          <a:xfrm>
            <a:off x="669925" y="4144277"/>
            <a:ext cx="5869189" cy="1213335"/>
            <a:chOff x="660400" y="2092935"/>
            <a:chExt cx="5869189" cy="1213335"/>
          </a:xfrm>
        </p:grpSpPr>
        <p:sp>
          <p:nvSpPr>
            <p:cNvPr id="16" name="ïšļíďè"/>
            <p:cNvSpPr txBox="1"/>
            <p:nvPr/>
          </p:nvSpPr>
          <p:spPr>
            <a:xfrm>
              <a:off x="1296567" y="2092935"/>
              <a:ext cx="5233022" cy="1213335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2000"/>
                </a:lnSpc>
              </a:pPr>
              <a:r>
                <a:rPr lang="zh-CN" altLang="en-US" sz="2400" dirty="0">
                  <a:sym typeface="Wingdings" panose="05000000000000000000" pitchFamily="2" charset="2"/>
                </a:rPr>
                <a:t>由于在访问磁盘的时间中，主要是寻道时间，因此，</a:t>
              </a:r>
              <a:r>
                <a:rPr lang="zh-CN" altLang="en-US" sz="2400" u="sng" dirty="0">
                  <a:solidFill>
                    <a:srgbClr val="FF0000"/>
                  </a:solidFill>
                  <a:sym typeface="Wingdings" panose="05000000000000000000" pitchFamily="2" charset="2"/>
                </a:rPr>
                <a:t>磁盘调度的目标，是使磁盘的平均寻道时间最小</a:t>
              </a:r>
              <a:r>
                <a:rPr lang="zh-CN" altLang="en-US" sz="2400" dirty="0">
                  <a:solidFill>
                    <a:srgbClr val="FF0000"/>
                  </a:solidFill>
                  <a:sym typeface="Wingdings" panose="05000000000000000000" pitchFamily="2" charset="2"/>
                </a:rPr>
                <a:t>。</a:t>
              </a:r>
              <a:endParaRPr lang="zh-CN" altLang="en-US" sz="2400" dirty="0">
                <a:sym typeface="Wingdings" panose="05000000000000000000" pitchFamily="2" charset="2"/>
              </a:endParaRPr>
            </a:p>
          </p:txBody>
        </p:sp>
        <p:grpSp>
          <p:nvGrpSpPr>
            <p:cNvPr id="13" name="ïŝľídè"/>
            <p:cNvGrpSpPr/>
            <p:nvPr/>
          </p:nvGrpSpPr>
          <p:grpSpPr>
            <a:xfrm>
              <a:off x="660400" y="2096245"/>
              <a:ext cx="497734" cy="497734"/>
              <a:chOff x="660400" y="2096245"/>
              <a:chExt cx="497734" cy="497734"/>
            </a:xfrm>
          </p:grpSpPr>
          <p:sp>
            <p:nvSpPr>
              <p:cNvPr id="14" name="ïṡľïde"/>
              <p:cNvSpPr/>
              <p:nvPr/>
            </p:nvSpPr>
            <p:spPr>
              <a:xfrm>
                <a:off x="660400" y="2096245"/>
                <a:ext cx="497734" cy="497734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19050">
                <a:solidFill>
                  <a:schemeClr val="bg1"/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925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>
                  <a:lnSpc>
                    <a:spcPct val="132000"/>
                  </a:lnSpc>
                </a:pPr>
                <a:endParaRPr lang="zh-CN" altLang="en-US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5" name="ïšliḍe"/>
              <p:cNvSpPr/>
              <p:nvPr/>
            </p:nvSpPr>
            <p:spPr>
              <a:xfrm>
                <a:off x="779848" y="2227680"/>
                <a:ext cx="258838" cy="234864"/>
              </a:xfrm>
              <a:custGeom>
                <a:avLst/>
                <a:gdLst>
                  <a:gd name="connsiteX0" fmla="*/ 116112 w 607919"/>
                  <a:gd name="connsiteY0" fmla="*/ 473652 h 551610"/>
                  <a:gd name="connsiteX1" fmla="*/ 118901 w 607919"/>
                  <a:gd name="connsiteY1" fmla="*/ 480423 h 551610"/>
                  <a:gd name="connsiteX2" fmla="*/ 118901 w 607919"/>
                  <a:gd name="connsiteY2" fmla="*/ 551610 h 551610"/>
                  <a:gd name="connsiteX3" fmla="*/ 55604 w 607919"/>
                  <a:gd name="connsiteY3" fmla="*/ 551610 h 551610"/>
                  <a:gd name="connsiteX4" fmla="*/ 55604 w 607919"/>
                  <a:gd name="connsiteY4" fmla="*/ 540851 h 551610"/>
                  <a:gd name="connsiteX5" fmla="*/ 65255 w 607919"/>
                  <a:gd name="connsiteY5" fmla="*/ 520583 h 551610"/>
                  <a:gd name="connsiteX6" fmla="*/ 83555 w 607919"/>
                  <a:gd name="connsiteY6" fmla="*/ 502317 h 551610"/>
                  <a:gd name="connsiteX7" fmla="*/ 109375 w 607919"/>
                  <a:gd name="connsiteY7" fmla="*/ 476545 h 551610"/>
                  <a:gd name="connsiteX8" fmla="*/ 116112 w 607919"/>
                  <a:gd name="connsiteY8" fmla="*/ 473652 h 551610"/>
                  <a:gd name="connsiteX9" fmla="*/ 199155 w 607919"/>
                  <a:gd name="connsiteY9" fmla="*/ 390799 h 551610"/>
                  <a:gd name="connsiteX10" fmla="*/ 201956 w 607919"/>
                  <a:gd name="connsiteY10" fmla="*/ 397632 h 551610"/>
                  <a:gd name="connsiteX11" fmla="*/ 201956 w 607919"/>
                  <a:gd name="connsiteY11" fmla="*/ 551610 h 551610"/>
                  <a:gd name="connsiteX12" fmla="*/ 145363 w 607919"/>
                  <a:gd name="connsiteY12" fmla="*/ 551610 h 551610"/>
                  <a:gd name="connsiteX13" fmla="*/ 145363 w 607919"/>
                  <a:gd name="connsiteY13" fmla="*/ 454170 h 551610"/>
                  <a:gd name="connsiteX14" fmla="*/ 154879 w 607919"/>
                  <a:gd name="connsiteY14" fmla="*/ 431030 h 551610"/>
                  <a:gd name="connsiteX15" fmla="*/ 192315 w 607919"/>
                  <a:gd name="connsiteY15" fmla="*/ 393630 h 551610"/>
                  <a:gd name="connsiteX16" fmla="*/ 199155 w 607919"/>
                  <a:gd name="connsiteY16" fmla="*/ 390799 h 551610"/>
                  <a:gd name="connsiteX17" fmla="*/ 231082 w 607919"/>
                  <a:gd name="connsiteY17" fmla="*/ 388245 h 551610"/>
                  <a:gd name="connsiteX18" fmla="*/ 237930 w 607919"/>
                  <a:gd name="connsiteY18" fmla="*/ 391091 h 551610"/>
                  <a:gd name="connsiteX19" fmla="*/ 266763 w 607919"/>
                  <a:gd name="connsiteY19" fmla="*/ 419867 h 551610"/>
                  <a:gd name="connsiteX20" fmla="*/ 275915 w 607919"/>
                  <a:gd name="connsiteY20" fmla="*/ 428875 h 551610"/>
                  <a:gd name="connsiteX21" fmla="*/ 284941 w 607919"/>
                  <a:gd name="connsiteY21" fmla="*/ 451520 h 551610"/>
                  <a:gd name="connsiteX22" fmla="*/ 284941 w 607919"/>
                  <a:gd name="connsiteY22" fmla="*/ 551610 h 551610"/>
                  <a:gd name="connsiteX23" fmla="*/ 228277 w 607919"/>
                  <a:gd name="connsiteY23" fmla="*/ 551610 h 551610"/>
                  <a:gd name="connsiteX24" fmla="*/ 228277 w 607919"/>
                  <a:gd name="connsiteY24" fmla="*/ 394969 h 551610"/>
                  <a:gd name="connsiteX25" fmla="*/ 231082 w 607919"/>
                  <a:gd name="connsiteY25" fmla="*/ 388245 h 551610"/>
                  <a:gd name="connsiteX26" fmla="*/ 365148 w 607919"/>
                  <a:gd name="connsiteY26" fmla="*/ 381336 h 551610"/>
                  <a:gd name="connsiteX27" fmla="*/ 367997 w 607919"/>
                  <a:gd name="connsiteY27" fmla="*/ 388122 h 551610"/>
                  <a:gd name="connsiteX28" fmla="*/ 367997 w 607919"/>
                  <a:gd name="connsiteY28" fmla="*/ 551610 h 551610"/>
                  <a:gd name="connsiteX29" fmla="*/ 311262 w 607919"/>
                  <a:gd name="connsiteY29" fmla="*/ 551610 h 551610"/>
                  <a:gd name="connsiteX30" fmla="*/ 311262 w 607919"/>
                  <a:gd name="connsiteY30" fmla="*/ 444661 h 551610"/>
                  <a:gd name="connsiteX31" fmla="*/ 316898 w 607919"/>
                  <a:gd name="connsiteY31" fmla="*/ 425523 h 551610"/>
                  <a:gd name="connsiteX32" fmla="*/ 322534 w 607919"/>
                  <a:gd name="connsiteY32" fmla="*/ 419894 h 551610"/>
                  <a:gd name="connsiteX33" fmla="*/ 358353 w 607919"/>
                  <a:gd name="connsiteY33" fmla="*/ 384120 h 551610"/>
                  <a:gd name="connsiteX34" fmla="*/ 365148 w 607919"/>
                  <a:gd name="connsiteY34" fmla="*/ 381336 h 551610"/>
                  <a:gd name="connsiteX35" fmla="*/ 448177 w 607919"/>
                  <a:gd name="connsiteY35" fmla="*/ 298352 h 551610"/>
                  <a:gd name="connsiteX36" fmla="*/ 450982 w 607919"/>
                  <a:gd name="connsiteY36" fmla="*/ 305139 h 551610"/>
                  <a:gd name="connsiteX37" fmla="*/ 450982 w 607919"/>
                  <a:gd name="connsiteY37" fmla="*/ 551610 h 551610"/>
                  <a:gd name="connsiteX38" fmla="*/ 394318 w 607919"/>
                  <a:gd name="connsiteY38" fmla="*/ 551610 h 551610"/>
                  <a:gd name="connsiteX39" fmla="*/ 394318 w 607919"/>
                  <a:gd name="connsiteY39" fmla="*/ 361815 h 551610"/>
                  <a:gd name="connsiteX40" fmla="*/ 403846 w 607919"/>
                  <a:gd name="connsiteY40" fmla="*/ 338669 h 551610"/>
                  <a:gd name="connsiteX41" fmla="*/ 441329 w 607919"/>
                  <a:gd name="connsiteY41" fmla="*/ 301136 h 551610"/>
                  <a:gd name="connsiteX42" fmla="*/ 448177 w 607919"/>
                  <a:gd name="connsiteY42" fmla="*/ 298352 h 551610"/>
                  <a:gd name="connsiteX43" fmla="*/ 527085 w 607919"/>
                  <a:gd name="connsiteY43" fmla="*/ 219452 h 551610"/>
                  <a:gd name="connsiteX44" fmla="*/ 529874 w 607919"/>
                  <a:gd name="connsiteY44" fmla="*/ 226177 h 551610"/>
                  <a:gd name="connsiteX45" fmla="*/ 529874 w 607919"/>
                  <a:gd name="connsiteY45" fmla="*/ 551610 h 551610"/>
                  <a:gd name="connsiteX46" fmla="*/ 477232 w 607919"/>
                  <a:gd name="connsiteY46" fmla="*/ 551610 h 551610"/>
                  <a:gd name="connsiteX47" fmla="*/ 477232 w 607919"/>
                  <a:gd name="connsiteY47" fmla="*/ 278727 h 551610"/>
                  <a:gd name="connsiteX48" fmla="*/ 486883 w 607919"/>
                  <a:gd name="connsiteY48" fmla="*/ 255580 h 551610"/>
                  <a:gd name="connsiteX49" fmla="*/ 520348 w 607919"/>
                  <a:gd name="connsiteY49" fmla="*/ 222298 h 551610"/>
                  <a:gd name="connsiteX50" fmla="*/ 527085 w 607919"/>
                  <a:gd name="connsiteY50" fmla="*/ 219452 h 551610"/>
                  <a:gd name="connsiteX51" fmla="*/ 387769 w 607919"/>
                  <a:gd name="connsiteY51" fmla="*/ 0 h 551610"/>
                  <a:gd name="connsiteX52" fmla="*/ 580729 w 607919"/>
                  <a:gd name="connsiteY52" fmla="*/ 0 h 551610"/>
                  <a:gd name="connsiteX53" fmla="*/ 607919 w 607919"/>
                  <a:gd name="connsiteY53" fmla="*/ 26022 h 551610"/>
                  <a:gd name="connsiteX54" fmla="*/ 607919 w 607919"/>
                  <a:gd name="connsiteY54" fmla="*/ 219812 h 551610"/>
                  <a:gd name="connsiteX55" fmla="*/ 598271 w 607919"/>
                  <a:gd name="connsiteY55" fmla="*/ 223815 h 551610"/>
                  <a:gd name="connsiteX56" fmla="*/ 530610 w 607919"/>
                  <a:gd name="connsiteY56" fmla="*/ 156258 h 551610"/>
                  <a:gd name="connsiteX57" fmla="*/ 304320 w 607919"/>
                  <a:gd name="connsiteY57" fmla="*/ 382325 h 551610"/>
                  <a:gd name="connsiteX58" fmla="*/ 285024 w 607919"/>
                  <a:gd name="connsiteY58" fmla="*/ 382325 h 551610"/>
                  <a:gd name="connsiteX59" fmla="*/ 216360 w 607919"/>
                  <a:gd name="connsiteY59" fmla="*/ 313767 h 551610"/>
                  <a:gd name="connsiteX60" fmla="*/ 94068 w 607919"/>
                  <a:gd name="connsiteY60" fmla="*/ 435996 h 551610"/>
                  <a:gd name="connsiteX61" fmla="*/ 17260 w 607919"/>
                  <a:gd name="connsiteY61" fmla="*/ 435996 h 551610"/>
                  <a:gd name="connsiteX62" fmla="*/ 15882 w 607919"/>
                  <a:gd name="connsiteY62" fmla="*/ 434745 h 551610"/>
                  <a:gd name="connsiteX63" fmla="*/ 15882 w 607919"/>
                  <a:gd name="connsiteY63" fmla="*/ 358055 h 551610"/>
                  <a:gd name="connsiteX64" fmla="*/ 206837 w 607919"/>
                  <a:gd name="connsiteY64" fmla="*/ 167267 h 551610"/>
                  <a:gd name="connsiteX65" fmla="*/ 226008 w 607919"/>
                  <a:gd name="connsiteY65" fmla="*/ 167267 h 551610"/>
                  <a:gd name="connsiteX66" fmla="*/ 294672 w 607919"/>
                  <a:gd name="connsiteY66" fmla="*/ 235701 h 551610"/>
                  <a:gd name="connsiteX67" fmla="*/ 424481 w 607919"/>
                  <a:gd name="connsiteY67" fmla="*/ 105965 h 551610"/>
                  <a:gd name="connsiteX68" fmla="*/ 452423 w 607919"/>
                  <a:gd name="connsiteY68" fmla="*/ 78192 h 551610"/>
                  <a:gd name="connsiteX69" fmla="*/ 383885 w 607919"/>
                  <a:gd name="connsiteY69" fmla="*/ 9633 h 551610"/>
                  <a:gd name="connsiteX70" fmla="*/ 387769 w 607919"/>
                  <a:gd name="connsiteY70" fmla="*/ 0 h 551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607919" h="551610">
                    <a:moveTo>
                      <a:pt x="116112" y="473652"/>
                    </a:moveTo>
                    <a:cubicBezTo>
                      <a:pt x="117836" y="474356"/>
                      <a:pt x="118901" y="476670"/>
                      <a:pt x="118901" y="480423"/>
                    </a:cubicBezTo>
                    <a:lnTo>
                      <a:pt x="118901" y="551610"/>
                    </a:lnTo>
                    <a:lnTo>
                      <a:pt x="55604" y="551610"/>
                    </a:lnTo>
                    <a:lnTo>
                      <a:pt x="55604" y="540851"/>
                    </a:lnTo>
                    <a:cubicBezTo>
                      <a:pt x="55604" y="534971"/>
                      <a:pt x="59991" y="525838"/>
                      <a:pt x="65255" y="520583"/>
                    </a:cubicBezTo>
                    <a:lnTo>
                      <a:pt x="83555" y="502317"/>
                    </a:lnTo>
                    <a:lnTo>
                      <a:pt x="109375" y="476545"/>
                    </a:lnTo>
                    <a:cubicBezTo>
                      <a:pt x="112007" y="473855"/>
                      <a:pt x="114389" y="472948"/>
                      <a:pt x="116112" y="473652"/>
                    </a:cubicBezTo>
                    <a:close/>
                    <a:moveTo>
                      <a:pt x="199155" y="390799"/>
                    </a:moveTo>
                    <a:cubicBezTo>
                      <a:pt x="200892" y="391534"/>
                      <a:pt x="201956" y="393880"/>
                      <a:pt x="201956" y="397632"/>
                    </a:cubicBezTo>
                    <a:lnTo>
                      <a:pt x="201956" y="551610"/>
                    </a:lnTo>
                    <a:lnTo>
                      <a:pt x="145363" y="551610"/>
                    </a:lnTo>
                    <a:lnTo>
                      <a:pt x="145363" y="454170"/>
                    </a:lnTo>
                    <a:cubicBezTo>
                      <a:pt x="145363" y="446665"/>
                      <a:pt x="149620" y="436283"/>
                      <a:pt x="154879" y="431030"/>
                    </a:cubicBezTo>
                    <a:lnTo>
                      <a:pt x="192315" y="393630"/>
                    </a:lnTo>
                    <a:cubicBezTo>
                      <a:pt x="195007" y="390941"/>
                      <a:pt x="197417" y="390065"/>
                      <a:pt x="199155" y="390799"/>
                    </a:cubicBezTo>
                    <a:close/>
                    <a:moveTo>
                      <a:pt x="231082" y="388245"/>
                    </a:moveTo>
                    <a:cubicBezTo>
                      <a:pt x="232822" y="387525"/>
                      <a:pt x="235235" y="388401"/>
                      <a:pt x="237930" y="391091"/>
                    </a:cubicBezTo>
                    <a:lnTo>
                      <a:pt x="266763" y="419867"/>
                    </a:lnTo>
                    <a:lnTo>
                      <a:pt x="275915" y="428875"/>
                    </a:lnTo>
                    <a:cubicBezTo>
                      <a:pt x="280929" y="433879"/>
                      <a:pt x="284941" y="444013"/>
                      <a:pt x="284941" y="451520"/>
                    </a:cubicBezTo>
                    <a:lnTo>
                      <a:pt x="284941" y="551610"/>
                    </a:lnTo>
                    <a:lnTo>
                      <a:pt x="228277" y="551610"/>
                    </a:lnTo>
                    <a:lnTo>
                      <a:pt x="228277" y="394969"/>
                    </a:lnTo>
                    <a:cubicBezTo>
                      <a:pt x="228277" y="391278"/>
                      <a:pt x="229343" y="388964"/>
                      <a:pt x="231082" y="388245"/>
                    </a:cubicBezTo>
                    <a:close/>
                    <a:moveTo>
                      <a:pt x="365148" y="381336"/>
                    </a:moveTo>
                    <a:cubicBezTo>
                      <a:pt x="366901" y="382055"/>
                      <a:pt x="367997" y="384370"/>
                      <a:pt x="367997" y="388122"/>
                    </a:cubicBezTo>
                    <a:lnTo>
                      <a:pt x="367997" y="551610"/>
                    </a:lnTo>
                    <a:lnTo>
                      <a:pt x="311262" y="551610"/>
                    </a:lnTo>
                    <a:lnTo>
                      <a:pt x="311262" y="444661"/>
                    </a:lnTo>
                    <a:cubicBezTo>
                      <a:pt x="311262" y="437156"/>
                      <a:pt x="313767" y="428650"/>
                      <a:pt x="316898" y="425523"/>
                    </a:cubicBezTo>
                    <a:cubicBezTo>
                      <a:pt x="320029" y="422396"/>
                      <a:pt x="322534" y="419894"/>
                      <a:pt x="322534" y="419894"/>
                    </a:cubicBezTo>
                    <a:lnTo>
                      <a:pt x="358353" y="384120"/>
                    </a:lnTo>
                    <a:cubicBezTo>
                      <a:pt x="360983" y="381493"/>
                      <a:pt x="363394" y="380617"/>
                      <a:pt x="365148" y="381336"/>
                    </a:cubicBezTo>
                    <a:close/>
                    <a:moveTo>
                      <a:pt x="448177" y="298352"/>
                    </a:moveTo>
                    <a:cubicBezTo>
                      <a:pt x="449916" y="299071"/>
                      <a:pt x="450982" y="301386"/>
                      <a:pt x="450982" y="305139"/>
                    </a:cubicBezTo>
                    <a:lnTo>
                      <a:pt x="450982" y="551610"/>
                    </a:lnTo>
                    <a:lnTo>
                      <a:pt x="394318" y="551610"/>
                    </a:lnTo>
                    <a:lnTo>
                      <a:pt x="394318" y="361815"/>
                    </a:lnTo>
                    <a:cubicBezTo>
                      <a:pt x="394318" y="354308"/>
                      <a:pt x="398580" y="343924"/>
                      <a:pt x="403846" y="338669"/>
                    </a:cubicBezTo>
                    <a:lnTo>
                      <a:pt x="441329" y="301136"/>
                    </a:lnTo>
                    <a:cubicBezTo>
                      <a:pt x="444024" y="298508"/>
                      <a:pt x="446438" y="297633"/>
                      <a:pt x="448177" y="298352"/>
                    </a:cubicBezTo>
                    <a:close/>
                    <a:moveTo>
                      <a:pt x="527085" y="219452"/>
                    </a:moveTo>
                    <a:cubicBezTo>
                      <a:pt x="528809" y="220171"/>
                      <a:pt x="529874" y="222486"/>
                      <a:pt x="529874" y="226177"/>
                    </a:cubicBezTo>
                    <a:lnTo>
                      <a:pt x="529874" y="551610"/>
                    </a:lnTo>
                    <a:lnTo>
                      <a:pt x="477232" y="551610"/>
                    </a:lnTo>
                    <a:lnTo>
                      <a:pt x="477232" y="278727"/>
                    </a:lnTo>
                    <a:cubicBezTo>
                      <a:pt x="477232" y="271345"/>
                      <a:pt x="481494" y="260960"/>
                      <a:pt x="486883" y="255580"/>
                    </a:cubicBezTo>
                    <a:lnTo>
                      <a:pt x="520348" y="222298"/>
                    </a:lnTo>
                    <a:cubicBezTo>
                      <a:pt x="522980" y="219608"/>
                      <a:pt x="525362" y="218732"/>
                      <a:pt x="527085" y="219452"/>
                    </a:cubicBezTo>
                    <a:close/>
                    <a:moveTo>
                      <a:pt x="387769" y="0"/>
                    </a:moveTo>
                    <a:lnTo>
                      <a:pt x="580729" y="0"/>
                    </a:lnTo>
                    <a:cubicBezTo>
                      <a:pt x="594512" y="0"/>
                      <a:pt x="607919" y="12135"/>
                      <a:pt x="607919" y="26022"/>
                    </a:cubicBezTo>
                    <a:lnTo>
                      <a:pt x="607919" y="219812"/>
                    </a:lnTo>
                    <a:cubicBezTo>
                      <a:pt x="607919" y="227318"/>
                      <a:pt x="603534" y="229070"/>
                      <a:pt x="598271" y="223815"/>
                    </a:cubicBezTo>
                    <a:lnTo>
                      <a:pt x="530610" y="156258"/>
                    </a:lnTo>
                    <a:lnTo>
                      <a:pt x="304320" y="382325"/>
                    </a:lnTo>
                    <a:cubicBezTo>
                      <a:pt x="298932" y="387580"/>
                      <a:pt x="290412" y="387580"/>
                      <a:pt x="285024" y="382325"/>
                    </a:cubicBezTo>
                    <a:lnTo>
                      <a:pt x="216360" y="313767"/>
                    </a:lnTo>
                    <a:lnTo>
                      <a:pt x="94068" y="435996"/>
                    </a:lnTo>
                    <a:cubicBezTo>
                      <a:pt x="72767" y="457264"/>
                      <a:pt x="38435" y="457264"/>
                      <a:pt x="17260" y="435996"/>
                    </a:cubicBezTo>
                    <a:lnTo>
                      <a:pt x="15882" y="434745"/>
                    </a:lnTo>
                    <a:cubicBezTo>
                      <a:pt x="-5294" y="413477"/>
                      <a:pt x="-5294" y="379198"/>
                      <a:pt x="15882" y="358055"/>
                    </a:cubicBezTo>
                    <a:lnTo>
                      <a:pt x="206837" y="167267"/>
                    </a:lnTo>
                    <a:cubicBezTo>
                      <a:pt x="212100" y="161888"/>
                      <a:pt x="220745" y="161888"/>
                      <a:pt x="226008" y="167267"/>
                    </a:cubicBezTo>
                    <a:lnTo>
                      <a:pt x="294672" y="235701"/>
                    </a:lnTo>
                    <a:lnTo>
                      <a:pt x="424481" y="105965"/>
                    </a:lnTo>
                    <a:lnTo>
                      <a:pt x="452423" y="78192"/>
                    </a:lnTo>
                    <a:lnTo>
                      <a:pt x="383885" y="9633"/>
                    </a:lnTo>
                    <a:cubicBezTo>
                      <a:pt x="378497" y="4379"/>
                      <a:pt x="380376" y="0"/>
                      <a:pt x="38776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3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>
                  <a:lnSpc>
                    <a:spcPct val="152000"/>
                  </a:lnSpc>
                </a:pPr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</p:grp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第</a:t>
            </a:r>
            <a:r>
              <a:rPr lang="en-US" altLang="zh-CN" sz="2800" b="1" dirty="0">
                <a:solidFill>
                  <a:schemeClr val="bg1"/>
                </a:solidFill>
              </a:rPr>
              <a:t>9</a:t>
            </a:r>
            <a:r>
              <a:rPr lang="zh-CN" altLang="en-US" sz="2800" b="1" dirty="0">
                <a:solidFill>
                  <a:schemeClr val="bg1"/>
                </a:solidFill>
              </a:rPr>
              <a:t>章 磁盘存储器管理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496960" y="1585520"/>
            <a:ext cx="7200554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500" dirty="0"/>
              <a:t>文件的物理结构直接与外存的组织方式有关。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496960" y="4976206"/>
            <a:ext cx="6706041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500" dirty="0"/>
              <a:t>现代</a:t>
            </a:r>
            <a:r>
              <a:rPr lang="en-US" altLang="zh-CN" sz="2500" dirty="0"/>
              <a:t>OS</a:t>
            </a:r>
            <a:r>
              <a:rPr lang="zh-CN" altLang="en-US" sz="2500" dirty="0"/>
              <a:t>，可能会采用多种类型的外存组织方式。</a:t>
            </a: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69054" y="156697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69054" y="2580619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15" name="图片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69054" y="489733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" name="文本框 9"/>
          <p:cNvSpPr txBox="1"/>
          <p:nvPr/>
        </p:nvSpPr>
        <p:spPr>
          <a:xfrm>
            <a:off x="1496960" y="2627720"/>
            <a:ext cx="7200554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500" dirty="0"/>
              <a:t>不同的外存组织方式，将形成不同的文件物理结构。</a:t>
            </a:r>
          </a:p>
        </p:txBody>
      </p:sp>
      <p:sp>
        <p:nvSpPr>
          <p:cNvPr id="11" name="íşļîḓé"/>
          <p:cNvSpPr/>
          <p:nvPr/>
        </p:nvSpPr>
        <p:spPr bwMode="auto">
          <a:xfrm>
            <a:off x="1496960" y="3104773"/>
            <a:ext cx="9301649" cy="15418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342900" lvl="1" indent="-342900">
              <a:lnSpc>
                <a:spcPct val="132000"/>
              </a:lnSpc>
              <a:buClr>
                <a:schemeClr val="accent4">
                  <a:lumMod val="40000"/>
                  <a:lumOff val="60000"/>
                </a:schemeClr>
              </a:buClr>
              <a:buFont typeface="Wingdings" panose="05000000000000000000" pitchFamily="2" charset="2"/>
              <a:buChar char="Ø"/>
            </a:pPr>
            <a:r>
              <a:rPr lang="zh-CN" altLang="en-US" sz="2400" u="sng" dirty="0">
                <a:solidFill>
                  <a:srgbClr val="0000FF"/>
                </a:solidFill>
              </a:rPr>
              <a:t>连续组织方式</a:t>
            </a:r>
            <a:r>
              <a:rPr lang="zh-CN" altLang="en-US" sz="2400" dirty="0"/>
              <a:t>：形成的文件物理结构是</a:t>
            </a:r>
            <a:r>
              <a:rPr lang="zh-CN" altLang="en-US" sz="2400" u="sng" dirty="0">
                <a:solidFill>
                  <a:srgbClr val="0000FF"/>
                </a:solidFill>
              </a:rPr>
              <a:t>顺序式文件结构</a:t>
            </a:r>
            <a:r>
              <a:rPr lang="zh-CN" altLang="en-US" sz="2400" dirty="0"/>
              <a:t>。</a:t>
            </a:r>
          </a:p>
          <a:p>
            <a:pPr marL="342900" lvl="1" indent="-342900">
              <a:lnSpc>
                <a:spcPct val="132000"/>
              </a:lnSpc>
              <a:buClr>
                <a:schemeClr val="accent4">
                  <a:lumMod val="40000"/>
                  <a:lumOff val="60000"/>
                </a:schemeClr>
              </a:buClr>
              <a:buFont typeface="Wingdings" panose="05000000000000000000" pitchFamily="2" charset="2"/>
              <a:buChar char="Ø"/>
            </a:pPr>
            <a:r>
              <a:rPr lang="zh-CN" altLang="en-US" sz="2400" u="sng" dirty="0"/>
              <a:t>链接组织方式</a:t>
            </a:r>
            <a:r>
              <a:rPr lang="zh-CN" altLang="en-US" sz="2400" dirty="0"/>
              <a:t>：形成的文件物理结构是</a:t>
            </a:r>
            <a:r>
              <a:rPr lang="zh-CN" altLang="en-US" sz="2400" u="sng" dirty="0"/>
              <a:t>链接式文件结构</a:t>
            </a:r>
            <a:r>
              <a:rPr lang="zh-CN" altLang="en-US" sz="2400" dirty="0"/>
              <a:t>。</a:t>
            </a:r>
          </a:p>
          <a:p>
            <a:pPr marL="342900" lvl="1" indent="-342900">
              <a:lnSpc>
                <a:spcPct val="132000"/>
              </a:lnSpc>
              <a:buClr>
                <a:schemeClr val="accent4">
                  <a:lumMod val="40000"/>
                  <a:lumOff val="60000"/>
                </a:schemeClr>
              </a:buClr>
              <a:buFont typeface="Wingdings" panose="05000000000000000000" pitchFamily="2" charset="2"/>
              <a:buChar char="Ø"/>
            </a:pPr>
            <a:r>
              <a:rPr lang="zh-CN" altLang="en-US" sz="2400" u="sng" dirty="0">
                <a:solidFill>
                  <a:srgbClr val="FF0000"/>
                </a:solidFill>
              </a:rPr>
              <a:t>索引组织方式</a:t>
            </a:r>
            <a:r>
              <a:rPr lang="zh-CN" altLang="en-US" sz="2400" dirty="0"/>
              <a:t>：形成的文件物理结构是</a:t>
            </a:r>
            <a:r>
              <a:rPr lang="zh-CN" altLang="en-US" sz="2400" u="sng" dirty="0">
                <a:solidFill>
                  <a:srgbClr val="FF0000"/>
                </a:solidFill>
              </a:rPr>
              <a:t>索引式文件结构</a:t>
            </a:r>
            <a:r>
              <a:rPr lang="zh-CN" altLang="en-US" sz="2400" dirty="0"/>
              <a:t>。</a:t>
            </a:r>
          </a:p>
        </p:txBody>
      </p:sp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先来先服务</a:t>
            </a:r>
            <a:r>
              <a:rPr lang="en-US" altLang="zh-CN" sz="2800" b="1" dirty="0">
                <a:solidFill>
                  <a:schemeClr val="bg1"/>
                </a:solidFill>
              </a:rPr>
              <a:t>FCFS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61201" y="1345427"/>
            <a:ext cx="9556298" cy="43550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</a:pPr>
            <a:r>
              <a:rPr lang="zh-CN" altLang="en-US" sz="2400" dirty="0">
                <a:latin typeface="+mn-ea"/>
              </a:rPr>
              <a:t>最简单的磁盘调度算法</a:t>
            </a:r>
          </a:p>
          <a:p>
            <a:pPr algn="just">
              <a:lnSpc>
                <a:spcPct val="150000"/>
              </a:lnSpc>
              <a:spcAft>
                <a:spcPts val="600"/>
              </a:spcAft>
            </a:pPr>
            <a:r>
              <a:rPr lang="zh-CN" altLang="en-US" sz="2400" dirty="0">
                <a:solidFill>
                  <a:srgbClr val="FF0000"/>
                </a:solidFill>
                <a:latin typeface="+mn-ea"/>
              </a:rPr>
              <a:t>根据进程请求访问磁盘的先后次序进行调度。</a:t>
            </a:r>
          </a:p>
          <a:p>
            <a:pPr algn="just">
              <a:lnSpc>
                <a:spcPct val="150000"/>
              </a:lnSpc>
              <a:spcAft>
                <a:spcPts val="600"/>
              </a:spcAft>
            </a:pPr>
            <a:r>
              <a:rPr lang="zh-CN" altLang="en-US" sz="2400" dirty="0">
                <a:latin typeface="+mn-ea"/>
              </a:rPr>
              <a:t>优点：公平、简单，每个进程的请求都能依次得到处理，不会出现某一进程的请求长期得不到满足的情况。</a:t>
            </a:r>
          </a:p>
          <a:p>
            <a:pPr algn="just">
              <a:lnSpc>
                <a:spcPct val="150000"/>
              </a:lnSpc>
              <a:spcAft>
                <a:spcPts val="600"/>
              </a:spcAft>
            </a:pPr>
            <a:r>
              <a:rPr lang="zh-CN" altLang="en-US" sz="2400" dirty="0">
                <a:latin typeface="+mn-ea"/>
              </a:rPr>
              <a:t>缺点：由于未对寻道进行优化，致使平均寻道时间可能较长。</a:t>
            </a:r>
          </a:p>
          <a:p>
            <a:pPr algn="just">
              <a:lnSpc>
                <a:spcPct val="150000"/>
              </a:lnSpc>
              <a:spcAft>
                <a:spcPts val="600"/>
              </a:spcAft>
            </a:pPr>
            <a:r>
              <a:rPr lang="en-US" altLang="zh-CN" sz="2400" dirty="0">
                <a:latin typeface="+mn-ea"/>
              </a:rPr>
              <a:t>FCFS</a:t>
            </a:r>
            <a:r>
              <a:rPr lang="zh-CN" altLang="en-US" sz="2400" dirty="0">
                <a:latin typeface="+mn-ea"/>
              </a:rPr>
              <a:t>仅适用于请求磁盘</a:t>
            </a:r>
            <a:r>
              <a:rPr lang="en-US" altLang="zh-CN" sz="2400" dirty="0">
                <a:latin typeface="+mn-ea"/>
              </a:rPr>
              <a:t>I/O</a:t>
            </a:r>
            <a:r>
              <a:rPr lang="zh-CN" altLang="en-US" sz="2400" dirty="0">
                <a:latin typeface="+mn-ea"/>
              </a:rPr>
              <a:t>的进程数目较少的场合。</a:t>
            </a:r>
          </a:p>
          <a:p>
            <a:pPr algn="just">
              <a:lnSpc>
                <a:spcPct val="150000"/>
              </a:lnSpc>
              <a:spcAft>
                <a:spcPts val="600"/>
              </a:spcAft>
            </a:pPr>
            <a:endParaRPr lang="zh-CN" altLang="en-US" sz="2400" dirty="0">
              <a:latin typeface="+mn-ea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35060" y="145624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35060" y="206203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35060" y="2706449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35060" y="3866026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FCFS</a:t>
            </a:r>
            <a:r>
              <a:rPr lang="zh-CN" altLang="en-US" sz="2800" b="1" dirty="0">
                <a:solidFill>
                  <a:schemeClr val="bg1"/>
                </a:solidFill>
              </a:rPr>
              <a:t>示例</a:t>
            </a:r>
          </a:p>
        </p:txBody>
      </p:sp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1" t="9740" r="514" b="9470"/>
          <a:stretch>
            <a:fillRect/>
          </a:stretch>
        </p:blipFill>
        <p:spPr bwMode="auto">
          <a:xfrm>
            <a:off x="5079331" y="1200151"/>
            <a:ext cx="6434382" cy="4282384"/>
          </a:xfrm>
          <a:prstGeom prst="rect">
            <a:avLst/>
          </a:prstGeom>
          <a:noFill/>
          <a:ln w="57150" cmpd="thickThin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0534" y="1054100"/>
            <a:ext cx="4452605" cy="5256548"/>
          </a:xfrm>
          <a:prstGeom prst="rect">
            <a:avLst/>
          </a:prstGeom>
        </p:spPr>
      </p:pic>
      <p:sp>
        <p:nvSpPr>
          <p:cNvPr id="5" name="内容占位符 2"/>
          <p:cNvSpPr txBox="1"/>
          <p:nvPr/>
        </p:nvSpPr>
        <p:spPr>
          <a:xfrm>
            <a:off x="6449920" y="5680748"/>
            <a:ext cx="3505180" cy="40005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Tx/>
              <a:buNone/>
            </a:pPr>
            <a:r>
              <a:rPr lang="zh-CN" altLang="en-US" sz="2400" dirty="0">
                <a:latin typeface="+mn-ea"/>
              </a:rPr>
              <a:t>总的磁头移动为</a:t>
            </a:r>
            <a:r>
              <a:rPr lang="en-US" altLang="zh-CN" sz="2400" dirty="0">
                <a:latin typeface="+mn-ea"/>
              </a:rPr>
              <a:t>640</a:t>
            </a:r>
            <a:r>
              <a:rPr lang="zh-CN" altLang="en-US" sz="2400" dirty="0">
                <a:latin typeface="+mn-ea"/>
              </a:rPr>
              <a:t>柱面</a:t>
            </a:r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最短寻道时间优先</a:t>
            </a:r>
            <a:r>
              <a:rPr lang="en-US" altLang="zh-CN" sz="2800" b="1" dirty="0">
                <a:solidFill>
                  <a:schemeClr val="bg1"/>
                </a:solidFill>
              </a:rPr>
              <a:t>SSTF 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3" name="iṥlídè"/>
          <p:cNvSpPr/>
          <p:nvPr/>
        </p:nvSpPr>
        <p:spPr>
          <a:xfrm>
            <a:off x="6958245" y="1128057"/>
            <a:ext cx="5233755" cy="5008286"/>
          </a:xfrm>
          <a:prstGeom prst="rect">
            <a:avLst/>
          </a:prstGeom>
          <a:blipFill>
            <a:blip r:embed="rId2"/>
            <a:stretch>
              <a:fillRect t="-27413" b="-27272"/>
            </a:stretch>
          </a:blipFill>
          <a:ln w="28575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lang="zh-CN" altLang="en-US" dirty="0"/>
          </a:p>
        </p:txBody>
      </p:sp>
      <p:grpSp>
        <p:nvGrpSpPr>
          <p:cNvPr id="4" name="iṡļiḓe"/>
          <p:cNvGrpSpPr/>
          <p:nvPr/>
        </p:nvGrpSpPr>
        <p:grpSpPr>
          <a:xfrm>
            <a:off x="669925" y="1718277"/>
            <a:ext cx="5869189" cy="1573522"/>
            <a:chOff x="660400" y="1787149"/>
            <a:chExt cx="5869189" cy="1573522"/>
          </a:xfrm>
        </p:grpSpPr>
        <p:sp>
          <p:nvSpPr>
            <p:cNvPr id="5" name="îṧľîḋé"/>
            <p:cNvSpPr txBox="1"/>
            <p:nvPr/>
          </p:nvSpPr>
          <p:spPr>
            <a:xfrm>
              <a:off x="1296567" y="1835355"/>
              <a:ext cx="5233022" cy="1525316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2000"/>
                </a:lnSpc>
              </a:pPr>
              <a:r>
                <a:rPr lang="zh-CN" altLang="en-US" sz="2400" dirty="0">
                  <a:sym typeface="Wingdings" panose="05000000000000000000" pitchFamily="2" charset="2"/>
                </a:rPr>
                <a:t>选择这样的进程，其要求访问的磁道，与当前磁头所在的磁道距离最近，以使每次的寻道时间最短，但不保证平均寻道时间最短</a:t>
              </a:r>
            </a:p>
          </p:txBody>
        </p:sp>
        <p:grpSp>
          <p:nvGrpSpPr>
            <p:cNvPr id="6" name="ïS1íḋé"/>
            <p:cNvGrpSpPr/>
            <p:nvPr/>
          </p:nvGrpSpPr>
          <p:grpSpPr>
            <a:xfrm>
              <a:off x="660400" y="1787149"/>
              <a:ext cx="497734" cy="497734"/>
              <a:chOff x="660400" y="1787149"/>
              <a:chExt cx="497734" cy="497734"/>
            </a:xfrm>
          </p:grpSpPr>
          <p:sp>
            <p:nvSpPr>
              <p:cNvPr id="7" name="islîḋe"/>
              <p:cNvSpPr/>
              <p:nvPr/>
            </p:nvSpPr>
            <p:spPr>
              <a:xfrm>
                <a:off x="660400" y="1787149"/>
                <a:ext cx="497734" cy="497734"/>
              </a:xfrm>
              <a:prstGeom prst="ellipse">
                <a:avLst/>
              </a:prstGeom>
              <a:solidFill>
                <a:schemeClr val="accent1"/>
              </a:solidFill>
              <a:ln w="19050">
                <a:solidFill>
                  <a:schemeClr val="bg1"/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925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>
                  <a:lnSpc>
                    <a:spcPct val="132000"/>
                  </a:lnSpc>
                </a:pPr>
                <a:endParaRPr lang="zh-CN" altLang="en-US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" name="îŝlîďe"/>
              <p:cNvSpPr/>
              <p:nvPr/>
            </p:nvSpPr>
            <p:spPr>
              <a:xfrm>
                <a:off x="779848" y="1918584"/>
                <a:ext cx="258838" cy="234864"/>
              </a:xfrm>
              <a:custGeom>
                <a:avLst/>
                <a:gdLst>
                  <a:gd name="connsiteX0" fmla="*/ 116112 w 607919"/>
                  <a:gd name="connsiteY0" fmla="*/ 473652 h 551610"/>
                  <a:gd name="connsiteX1" fmla="*/ 118901 w 607919"/>
                  <a:gd name="connsiteY1" fmla="*/ 480423 h 551610"/>
                  <a:gd name="connsiteX2" fmla="*/ 118901 w 607919"/>
                  <a:gd name="connsiteY2" fmla="*/ 551610 h 551610"/>
                  <a:gd name="connsiteX3" fmla="*/ 55604 w 607919"/>
                  <a:gd name="connsiteY3" fmla="*/ 551610 h 551610"/>
                  <a:gd name="connsiteX4" fmla="*/ 55604 w 607919"/>
                  <a:gd name="connsiteY4" fmla="*/ 540851 h 551610"/>
                  <a:gd name="connsiteX5" fmla="*/ 65255 w 607919"/>
                  <a:gd name="connsiteY5" fmla="*/ 520583 h 551610"/>
                  <a:gd name="connsiteX6" fmla="*/ 83555 w 607919"/>
                  <a:gd name="connsiteY6" fmla="*/ 502317 h 551610"/>
                  <a:gd name="connsiteX7" fmla="*/ 109375 w 607919"/>
                  <a:gd name="connsiteY7" fmla="*/ 476545 h 551610"/>
                  <a:gd name="connsiteX8" fmla="*/ 116112 w 607919"/>
                  <a:gd name="connsiteY8" fmla="*/ 473652 h 551610"/>
                  <a:gd name="connsiteX9" fmla="*/ 199155 w 607919"/>
                  <a:gd name="connsiteY9" fmla="*/ 390799 h 551610"/>
                  <a:gd name="connsiteX10" fmla="*/ 201956 w 607919"/>
                  <a:gd name="connsiteY10" fmla="*/ 397632 h 551610"/>
                  <a:gd name="connsiteX11" fmla="*/ 201956 w 607919"/>
                  <a:gd name="connsiteY11" fmla="*/ 551610 h 551610"/>
                  <a:gd name="connsiteX12" fmla="*/ 145363 w 607919"/>
                  <a:gd name="connsiteY12" fmla="*/ 551610 h 551610"/>
                  <a:gd name="connsiteX13" fmla="*/ 145363 w 607919"/>
                  <a:gd name="connsiteY13" fmla="*/ 454170 h 551610"/>
                  <a:gd name="connsiteX14" fmla="*/ 154879 w 607919"/>
                  <a:gd name="connsiteY14" fmla="*/ 431030 h 551610"/>
                  <a:gd name="connsiteX15" fmla="*/ 192315 w 607919"/>
                  <a:gd name="connsiteY15" fmla="*/ 393630 h 551610"/>
                  <a:gd name="connsiteX16" fmla="*/ 199155 w 607919"/>
                  <a:gd name="connsiteY16" fmla="*/ 390799 h 551610"/>
                  <a:gd name="connsiteX17" fmla="*/ 231082 w 607919"/>
                  <a:gd name="connsiteY17" fmla="*/ 388245 h 551610"/>
                  <a:gd name="connsiteX18" fmla="*/ 237930 w 607919"/>
                  <a:gd name="connsiteY18" fmla="*/ 391091 h 551610"/>
                  <a:gd name="connsiteX19" fmla="*/ 266763 w 607919"/>
                  <a:gd name="connsiteY19" fmla="*/ 419867 h 551610"/>
                  <a:gd name="connsiteX20" fmla="*/ 275915 w 607919"/>
                  <a:gd name="connsiteY20" fmla="*/ 428875 h 551610"/>
                  <a:gd name="connsiteX21" fmla="*/ 284941 w 607919"/>
                  <a:gd name="connsiteY21" fmla="*/ 451520 h 551610"/>
                  <a:gd name="connsiteX22" fmla="*/ 284941 w 607919"/>
                  <a:gd name="connsiteY22" fmla="*/ 551610 h 551610"/>
                  <a:gd name="connsiteX23" fmla="*/ 228277 w 607919"/>
                  <a:gd name="connsiteY23" fmla="*/ 551610 h 551610"/>
                  <a:gd name="connsiteX24" fmla="*/ 228277 w 607919"/>
                  <a:gd name="connsiteY24" fmla="*/ 394969 h 551610"/>
                  <a:gd name="connsiteX25" fmla="*/ 231082 w 607919"/>
                  <a:gd name="connsiteY25" fmla="*/ 388245 h 551610"/>
                  <a:gd name="connsiteX26" fmla="*/ 365148 w 607919"/>
                  <a:gd name="connsiteY26" fmla="*/ 381336 h 551610"/>
                  <a:gd name="connsiteX27" fmla="*/ 367997 w 607919"/>
                  <a:gd name="connsiteY27" fmla="*/ 388122 h 551610"/>
                  <a:gd name="connsiteX28" fmla="*/ 367997 w 607919"/>
                  <a:gd name="connsiteY28" fmla="*/ 551610 h 551610"/>
                  <a:gd name="connsiteX29" fmla="*/ 311262 w 607919"/>
                  <a:gd name="connsiteY29" fmla="*/ 551610 h 551610"/>
                  <a:gd name="connsiteX30" fmla="*/ 311262 w 607919"/>
                  <a:gd name="connsiteY30" fmla="*/ 444661 h 551610"/>
                  <a:gd name="connsiteX31" fmla="*/ 316898 w 607919"/>
                  <a:gd name="connsiteY31" fmla="*/ 425523 h 551610"/>
                  <a:gd name="connsiteX32" fmla="*/ 322534 w 607919"/>
                  <a:gd name="connsiteY32" fmla="*/ 419894 h 551610"/>
                  <a:gd name="connsiteX33" fmla="*/ 358353 w 607919"/>
                  <a:gd name="connsiteY33" fmla="*/ 384120 h 551610"/>
                  <a:gd name="connsiteX34" fmla="*/ 365148 w 607919"/>
                  <a:gd name="connsiteY34" fmla="*/ 381336 h 551610"/>
                  <a:gd name="connsiteX35" fmla="*/ 448177 w 607919"/>
                  <a:gd name="connsiteY35" fmla="*/ 298352 h 551610"/>
                  <a:gd name="connsiteX36" fmla="*/ 450982 w 607919"/>
                  <a:gd name="connsiteY36" fmla="*/ 305139 h 551610"/>
                  <a:gd name="connsiteX37" fmla="*/ 450982 w 607919"/>
                  <a:gd name="connsiteY37" fmla="*/ 551610 h 551610"/>
                  <a:gd name="connsiteX38" fmla="*/ 394318 w 607919"/>
                  <a:gd name="connsiteY38" fmla="*/ 551610 h 551610"/>
                  <a:gd name="connsiteX39" fmla="*/ 394318 w 607919"/>
                  <a:gd name="connsiteY39" fmla="*/ 361815 h 551610"/>
                  <a:gd name="connsiteX40" fmla="*/ 403846 w 607919"/>
                  <a:gd name="connsiteY40" fmla="*/ 338669 h 551610"/>
                  <a:gd name="connsiteX41" fmla="*/ 441329 w 607919"/>
                  <a:gd name="connsiteY41" fmla="*/ 301136 h 551610"/>
                  <a:gd name="connsiteX42" fmla="*/ 448177 w 607919"/>
                  <a:gd name="connsiteY42" fmla="*/ 298352 h 551610"/>
                  <a:gd name="connsiteX43" fmla="*/ 527085 w 607919"/>
                  <a:gd name="connsiteY43" fmla="*/ 219452 h 551610"/>
                  <a:gd name="connsiteX44" fmla="*/ 529874 w 607919"/>
                  <a:gd name="connsiteY44" fmla="*/ 226177 h 551610"/>
                  <a:gd name="connsiteX45" fmla="*/ 529874 w 607919"/>
                  <a:gd name="connsiteY45" fmla="*/ 551610 h 551610"/>
                  <a:gd name="connsiteX46" fmla="*/ 477232 w 607919"/>
                  <a:gd name="connsiteY46" fmla="*/ 551610 h 551610"/>
                  <a:gd name="connsiteX47" fmla="*/ 477232 w 607919"/>
                  <a:gd name="connsiteY47" fmla="*/ 278727 h 551610"/>
                  <a:gd name="connsiteX48" fmla="*/ 486883 w 607919"/>
                  <a:gd name="connsiteY48" fmla="*/ 255580 h 551610"/>
                  <a:gd name="connsiteX49" fmla="*/ 520348 w 607919"/>
                  <a:gd name="connsiteY49" fmla="*/ 222298 h 551610"/>
                  <a:gd name="connsiteX50" fmla="*/ 527085 w 607919"/>
                  <a:gd name="connsiteY50" fmla="*/ 219452 h 551610"/>
                  <a:gd name="connsiteX51" fmla="*/ 387769 w 607919"/>
                  <a:gd name="connsiteY51" fmla="*/ 0 h 551610"/>
                  <a:gd name="connsiteX52" fmla="*/ 580729 w 607919"/>
                  <a:gd name="connsiteY52" fmla="*/ 0 h 551610"/>
                  <a:gd name="connsiteX53" fmla="*/ 607919 w 607919"/>
                  <a:gd name="connsiteY53" fmla="*/ 26022 h 551610"/>
                  <a:gd name="connsiteX54" fmla="*/ 607919 w 607919"/>
                  <a:gd name="connsiteY54" fmla="*/ 219812 h 551610"/>
                  <a:gd name="connsiteX55" fmla="*/ 598271 w 607919"/>
                  <a:gd name="connsiteY55" fmla="*/ 223815 h 551610"/>
                  <a:gd name="connsiteX56" fmla="*/ 530610 w 607919"/>
                  <a:gd name="connsiteY56" fmla="*/ 156258 h 551610"/>
                  <a:gd name="connsiteX57" fmla="*/ 304320 w 607919"/>
                  <a:gd name="connsiteY57" fmla="*/ 382325 h 551610"/>
                  <a:gd name="connsiteX58" fmla="*/ 285024 w 607919"/>
                  <a:gd name="connsiteY58" fmla="*/ 382325 h 551610"/>
                  <a:gd name="connsiteX59" fmla="*/ 216360 w 607919"/>
                  <a:gd name="connsiteY59" fmla="*/ 313767 h 551610"/>
                  <a:gd name="connsiteX60" fmla="*/ 94068 w 607919"/>
                  <a:gd name="connsiteY60" fmla="*/ 435996 h 551610"/>
                  <a:gd name="connsiteX61" fmla="*/ 17260 w 607919"/>
                  <a:gd name="connsiteY61" fmla="*/ 435996 h 551610"/>
                  <a:gd name="connsiteX62" fmla="*/ 15882 w 607919"/>
                  <a:gd name="connsiteY62" fmla="*/ 434745 h 551610"/>
                  <a:gd name="connsiteX63" fmla="*/ 15882 w 607919"/>
                  <a:gd name="connsiteY63" fmla="*/ 358055 h 551610"/>
                  <a:gd name="connsiteX64" fmla="*/ 206837 w 607919"/>
                  <a:gd name="connsiteY64" fmla="*/ 167267 h 551610"/>
                  <a:gd name="connsiteX65" fmla="*/ 226008 w 607919"/>
                  <a:gd name="connsiteY65" fmla="*/ 167267 h 551610"/>
                  <a:gd name="connsiteX66" fmla="*/ 294672 w 607919"/>
                  <a:gd name="connsiteY66" fmla="*/ 235701 h 551610"/>
                  <a:gd name="connsiteX67" fmla="*/ 424481 w 607919"/>
                  <a:gd name="connsiteY67" fmla="*/ 105965 h 551610"/>
                  <a:gd name="connsiteX68" fmla="*/ 452423 w 607919"/>
                  <a:gd name="connsiteY68" fmla="*/ 78192 h 551610"/>
                  <a:gd name="connsiteX69" fmla="*/ 383885 w 607919"/>
                  <a:gd name="connsiteY69" fmla="*/ 9633 h 551610"/>
                  <a:gd name="connsiteX70" fmla="*/ 387769 w 607919"/>
                  <a:gd name="connsiteY70" fmla="*/ 0 h 551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607919" h="551610">
                    <a:moveTo>
                      <a:pt x="116112" y="473652"/>
                    </a:moveTo>
                    <a:cubicBezTo>
                      <a:pt x="117836" y="474356"/>
                      <a:pt x="118901" y="476670"/>
                      <a:pt x="118901" y="480423"/>
                    </a:cubicBezTo>
                    <a:lnTo>
                      <a:pt x="118901" y="551610"/>
                    </a:lnTo>
                    <a:lnTo>
                      <a:pt x="55604" y="551610"/>
                    </a:lnTo>
                    <a:lnTo>
                      <a:pt x="55604" y="540851"/>
                    </a:lnTo>
                    <a:cubicBezTo>
                      <a:pt x="55604" y="534971"/>
                      <a:pt x="59991" y="525838"/>
                      <a:pt x="65255" y="520583"/>
                    </a:cubicBezTo>
                    <a:lnTo>
                      <a:pt x="83555" y="502317"/>
                    </a:lnTo>
                    <a:lnTo>
                      <a:pt x="109375" y="476545"/>
                    </a:lnTo>
                    <a:cubicBezTo>
                      <a:pt x="112007" y="473855"/>
                      <a:pt x="114389" y="472948"/>
                      <a:pt x="116112" y="473652"/>
                    </a:cubicBezTo>
                    <a:close/>
                    <a:moveTo>
                      <a:pt x="199155" y="390799"/>
                    </a:moveTo>
                    <a:cubicBezTo>
                      <a:pt x="200892" y="391534"/>
                      <a:pt x="201956" y="393880"/>
                      <a:pt x="201956" y="397632"/>
                    </a:cubicBezTo>
                    <a:lnTo>
                      <a:pt x="201956" y="551610"/>
                    </a:lnTo>
                    <a:lnTo>
                      <a:pt x="145363" y="551610"/>
                    </a:lnTo>
                    <a:lnTo>
                      <a:pt x="145363" y="454170"/>
                    </a:lnTo>
                    <a:cubicBezTo>
                      <a:pt x="145363" y="446665"/>
                      <a:pt x="149620" y="436283"/>
                      <a:pt x="154879" y="431030"/>
                    </a:cubicBezTo>
                    <a:lnTo>
                      <a:pt x="192315" y="393630"/>
                    </a:lnTo>
                    <a:cubicBezTo>
                      <a:pt x="195007" y="390941"/>
                      <a:pt x="197417" y="390065"/>
                      <a:pt x="199155" y="390799"/>
                    </a:cubicBezTo>
                    <a:close/>
                    <a:moveTo>
                      <a:pt x="231082" y="388245"/>
                    </a:moveTo>
                    <a:cubicBezTo>
                      <a:pt x="232822" y="387525"/>
                      <a:pt x="235235" y="388401"/>
                      <a:pt x="237930" y="391091"/>
                    </a:cubicBezTo>
                    <a:lnTo>
                      <a:pt x="266763" y="419867"/>
                    </a:lnTo>
                    <a:lnTo>
                      <a:pt x="275915" y="428875"/>
                    </a:lnTo>
                    <a:cubicBezTo>
                      <a:pt x="280929" y="433879"/>
                      <a:pt x="284941" y="444013"/>
                      <a:pt x="284941" y="451520"/>
                    </a:cubicBezTo>
                    <a:lnTo>
                      <a:pt x="284941" y="551610"/>
                    </a:lnTo>
                    <a:lnTo>
                      <a:pt x="228277" y="551610"/>
                    </a:lnTo>
                    <a:lnTo>
                      <a:pt x="228277" y="394969"/>
                    </a:lnTo>
                    <a:cubicBezTo>
                      <a:pt x="228277" y="391278"/>
                      <a:pt x="229343" y="388964"/>
                      <a:pt x="231082" y="388245"/>
                    </a:cubicBezTo>
                    <a:close/>
                    <a:moveTo>
                      <a:pt x="365148" y="381336"/>
                    </a:moveTo>
                    <a:cubicBezTo>
                      <a:pt x="366901" y="382055"/>
                      <a:pt x="367997" y="384370"/>
                      <a:pt x="367997" y="388122"/>
                    </a:cubicBezTo>
                    <a:lnTo>
                      <a:pt x="367997" y="551610"/>
                    </a:lnTo>
                    <a:lnTo>
                      <a:pt x="311262" y="551610"/>
                    </a:lnTo>
                    <a:lnTo>
                      <a:pt x="311262" y="444661"/>
                    </a:lnTo>
                    <a:cubicBezTo>
                      <a:pt x="311262" y="437156"/>
                      <a:pt x="313767" y="428650"/>
                      <a:pt x="316898" y="425523"/>
                    </a:cubicBezTo>
                    <a:cubicBezTo>
                      <a:pt x="320029" y="422396"/>
                      <a:pt x="322534" y="419894"/>
                      <a:pt x="322534" y="419894"/>
                    </a:cubicBezTo>
                    <a:lnTo>
                      <a:pt x="358353" y="384120"/>
                    </a:lnTo>
                    <a:cubicBezTo>
                      <a:pt x="360983" y="381493"/>
                      <a:pt x="363394" y="380617"/>
                      <a:pt x="365148" y="381336"/>
                    </a:cubicBezTo>
                    <a:close/>
                    <a:moveTo>
                      <a:pt x="448177" y="298352"/>
                    </a:moveTo>
                    <a:cubicBezTo>
                      <a:pt x="449916" y="299071"/>
                      <a:pt x="450982" y="301386"/>
                      <a:pt x="450982" y="305139"/>
                    </a:cubicBezTo>
                    <a:lnTo>
                      <a:pt x="450982" y="551610"/>
                    </a:lnTo>
                    <a:lnTo>
                      <a:pt x="394318" y="551610"/>
                    </a:lnTo>
                    <a:lnTo>
                      <a:pt x="394318" y="361815"/>
                    </a:lnTo>
                    <a:cubicBezTo>
                      <a:pt x="394318" y="354308"/>
                      <a:pt x="398580" y="343924"/>
                      <a:pt x="403846" y="338669"/>
                    </a:cubicBezTo>
                    <a:lnTo>
                      <a:pt x="441329" y="301136"/>
                    </a:lnTo>
                    <a:cubicBezTo>
                      <a:pt x="444024" y="298508"/>
                      <a:pt x="446438" y="297633"/>
                      <a:pt x="448177" y="298352"/>
                    </a:cubicBezTo>
                    <a:close/>
                    <a:moveTo>
                      <a:pt x="527085" y="219452"/>
                    </a:moveTo>
                    <a:cubicBezTo>
                      <a:pt x="528809" y="220171"/>
                      <a:pt x="529874" y="222486"/>
                      <a:pt x="529874" y="226177"/>
                    </a:cubicBezTo>
                    <a:lnTo>
                      <a:pt x="529874" y="551610"/>
                    </a:lnTo>
                    <a:lnTo>
                      <a:pt x="477232" y="551610"/>
                    </a:lnTo>
                    <a:lnTo>
                      <a:pt x="477232" y="278727"/>
                    </a:lnTo>
                    <a:cubicBezTo>
                      <a:pt x="477232" y="271345"/>
                      <a:pt x="481494" y="260960"/>
                      <a:pt x="486883" y="255580"/>
                    </a:cubicBezTo>
                    <a:lnTo>
                      <a:pt x="520348" y="222298"/>
                    </a:lnTo>
                    <a:cubicBezTo>
                      <a:pt x="522980" y="219608"/>
                      <a:pt x="525362" y="218732"/>
                      <a:pt x="527085" y="219452"/>
                    </a:cubicBezTo>
                    <a:close/>
                    <a:moveTo>
                      <a:pt x="387769" y="0"/>
                    </a:moveTo>
                    <a:lnTo>
                      <a:pt x="580729" y="0"/>
                    </a:lnTo>
                    <a:cubicBezTo>
                      <a:pt x="594512" y="0"/>
                      <a:pt x="607919" y="12135"/>
                      <a:pt x="607919" y="26022"/>
                    </a:cubicBezTo>
                    <a:lnTo>
                      <a:pt x="607919" y="219812"/>
                    </a:lnTo>
                    <a:cubicBezTo>
                      <a:pt x="607919" y="227318"/>
                      <a:pt x="603534" y="229070"/>
                      <a:pt x="598271" y="223815"/>
                    </a:cubicBezTo>
                    <a:lnTo>
                      <a:pt x="530610" y="156258"/>
                    </a:lnTo>
                    <a:lnTo>
                      <a:pt x="304320" y="382325"/>
                    </a:lnTo>
                    <a:cubicBezTo>
                      <a:pt x="298932" y="387580"/>
                      <a:pt x="290412" y="387580"/>
                      <a:pt x="285024" y="382325"/>
                    </a:cubicBezTo>
                    <a:lnTo>
                      <a:pt x="216360" y="313767"/>
                    </a:lnTo>
                    <a:lnTo>
                      <a:pt x="94068" y="435996"/>
                    </a:lnTo>
                    <a:cubicBezTo>
                      <a:pt x="72767" y="457264"/>
                      <a:pt x="38435" y="457264"/>
                      <a:pt x="17260" y="435996"/>
                    </a:cubicBezTo>
                    <a:lnTo>
                      <a:pt x="15882" y="434745"/>
                    </a:lnTo>
                    <a:cubicBezTo>
                      <a:pt x="-5294" y="413477"/>
                      <a:pt x="-5294" y="379198"/>
                      <a:pt x="15882" y="358055"/>
                    </a:cubicBezTo>
                    <a:lnTo>
                      <a:pt x="206837" y="167267"/>
                    </a:lnTo>
                    <a:cubicBezTo>
                      <a:pt x="212100" y="161888"/>
                      <a:pt x="220745" y="161888"/>
                      <a:pt x="226008" y="167267"/>
                    </a:cubicBezTo>
                    <a:lnTo>
                      <a:pt x="294672" y="235701"/>
                    </a:lnTo>
                    <a:lnTo>
                      <a:pt x="424481" y="105965"/>
                    </a:lnTo>
                    <a:lnTo>
                      <a:pt x="452423" y="78192"/>
                    </a:lnTo>
                    <a:lnTo>
                      <a:pt x="383885" y="9633"/>
                    </a:lnTo>
                    <a:cubicBezTo>
                      <a:pt x="378497" y="4379"/>
                      <a:pt x="380376" y="0"/>
                      <a:pt x="38776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3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>
                  <a:lnSpc>
                    <a:spcPct val="152000"/>
                  </a:lnSpc>
                </a:pPr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9" name="iŝļïḓê"/>
          <p:cNvGrpSpPr/>
          <p:nvPr/>
        </p:nvGrpSpPr>
        <p:grpSpPr>
          <a:xfrm>
            <a:off x="669925" y="4144277"/>
            <a:ext cx="5869189" cy="1213335"/>
            <a:chOff x="660400" y="2092935"/>
            <a:chExt cx="5869189" cy="1213335"/>
          </a:xfrm>
        </p:grpSpPr>
        <p:sp>
          <p:nvSpPr>
            <p:cNvPr id="10" name="ïšļíďè"/>
            <p:cNvSpPr txBox="1"/>
            <p:nvPr/>
          </p:nvSpPr>
          <p:spPr>
            <a:xfrm>
              <a:off x="1296567" y="2092935"/>
              <a:ext cx="5233022" cy="1213335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2000"/>
                </a:lnSpc>
              </a:pPr>
              <a:r>
                <a:rPr lang="en-US" altLang="zh-CN" sz="2400" dirty="0">
                  <a:sym typeface="Wingdings" panose="05000000000000000000" pitchFamily="2" charset="2"/>
                </a:rPr>
                <a:t>SSTF</a:t>
              </a:r>
              <a:r>
                <a:rPr lang="zh-CN" altLang="en-US" sz="2400" dirty="0">
                  <a:sym typeface="Wingdings" panose="05000000000000000000" pitchFamily="2" charset="2"/>
                </a:rPr>
                <a:t>的平均每次磁头移动的距离，明显低于</a:t>
              </a:r>
              <a:r>
                <a:rPr lang="en-US" altLang="zh-CN" sz="2400" dirty="0">
                  <a:sym typeface="Wingdings" panose="05000000000000000000" pitchFamily="2" charset="2"/>
                </a:rPr>
                <a:t>FCFS</a:t>
              </a:r>
              <a:r>
                <a:rPr lang="zh-CN" altLang="en-US" sz="2400" dirty="0">
                  <a:sym typeface="Wingdings" panose="05000000000000000000" pitchFamily="2" charset="2"/>
                </a:rPr>
                <a:t>的距离，因而</a:t>
              </a:r>
              <a:r>
                <a:rPr lang="en-US" altLang="zh-CN" sz="2400" u="sng" dirty="0">
                  <a:solidFill>
                    <a:srgbClr val="FF0000"/>
                  </a:solidFill>
                  <a:sym typeface="Wingdings" panose="05000000000000000000" pitchFamily="2" charset="2"/>
                </a:rPr>
                <a:t>SSTF</a:t>
              </a:r>
              <a:r>
                <a:rPr lang="zh-CN" altLang="en-US" sz="2400" u="sng" dirty="0">
                  <a:solidFill>
                    <a:srgbClr val="FF0000"/>
                  </a:solidFill>
                  <a:sym typeface="Wingdings" panose="05000000000000000000" pitchFamily="2" charset="2"/>
                </a:rPr>
                <a:t>比</a:t>
              </a:r>
              <a:r>
                <a:rPr lang="en-US" altLang="zh-CN" sz="2400" u="sng" dirty="0">
                  <a:solidFill>
                    <a:srgbClr val="FF0000"/>
                  </a:solidFill>
                  <a:sym typeface="Wingdings" panose="05000000000000000000" pitchFamily="2" charset="2"/>
                </a:rPr>
                <a:t>FCFS</a:t>
              </a:r>
              <a:r>
                <a:rPr lang="zh-CN" altLang="en-US" sz="2400" u="sng" dirty="0">
                  <a:solidFill>
                    <a:srgbClr val="FF0000"/>
                  </a:solidFill>
                  <a:sym typeface="Wingdings" panose="05000000000000000000" pitchFamily="2" charset="2"/>
                </a:rPr>
                <a:t>寻道性能更好</a:t>
              </a:r>
            </a:p>
          </p:txBody>
        </p:sp>
        <p:grpSp>
          <p:nvGrpSpPr>
            <p:cNvPr id="11" name="ïŝľídè"/>
            <p:cNvGrpSpPr/>
            <p:nvPr/>
          </p:nvGrpSpPr>
          <p:grpSpPr>
            <a:xfrm>
              <a:off x="660400" y="2096245"/>
              <a:ext cx="497734" cy="497734"/>
              <a:chOff x="660400" y="2096245"/>
              <a:chExt cx="497734" cy="497734"/>
            </a:xfrm>
          </p:grpSpPr>
          <p:sp>
            <p:nvSpPr>
              <p:cNvPr id="12" name="ïṡľïde"/>
              <p:cNvSpPr/>
              <p:nvPr/>
            </p:nvSpPr>
            <p:spPr>
              <a:xfrm>
                <a:off x="660400" y="2096245"/>
                <a:ext cx="497734" cy="497734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19050">
                <a:solidFill>
                  <a:schemeClr val="bg1"/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925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>
                  <a:lnSpc>
                    <a:spcPct val="132000"/>
                  </a:lnSpc>
                </a:pPr>
                <a:endParaRPr lang="zh-CN" altLang="en-US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3" name="ïšliḍe"/>
              <p:cNvSpPr/>
              <p:nvPr/>
            </p:nvSpPr>
            <p:spPr>
              <a:xfrm>
                <a:off x="779848" y="2227680"/>
                <a:ext cx="258838" cy="234864"/>
              </a:xfrm>
              <a:custGeom>
                <a:avLst/>
                <a:gdLst>
                  <a:gd name="connsiteX0" fmla="*/ 116112 w 607919"/>
                  <a:gd name="connsiteY0" fmla="*/ 473652 h 551610"/>
                  <a:gd name="connsiteX1" fmla="*/ 118901 w 607919"/>
                  <a:gd name="connsiteY1" fmla="*/ 480423 h 551610"/>
                  <a:gd name="connsiteX2" fmla="*/ 118901 w 607919"/>
                  <a:gd name="connsiteY2" fmla="*/ 551610 h 551610"/>
                  <a:gd name="connsiteX3" fmla="*/ 55604 w 607919"/>
                  <a:gd name="connsiteY3" fmla="*/ 551610 h 551610"/>
                  <a:gd name="connsiteX4" fmla="*/ 55604 w 607919"/>
                  <a:gd name="connsiteY4" fmla="*/ 540851 h 551610"/>
                  <a:gd name="connsiteX5" fmla="*/ 65255 w 607919"/>
                  <a:gd name="connsiteY5" fmla="*/ 520583 h 551610"/>
                  <a:gd name="connsiteX6" fmla="*/ 83555 w 607919"/>
                  <a:gd name="connsiteY6" fmla="*/ 502317 h 551610"/>
                  <a:gd name="connsiteX7" fmla="*/ 109375 w 607919"/>
                  <a:gd name="connsiteY7" fmla="*/ 476545 h 551610"/>
                  <a:gd name="connsiteX8" fmla="*/ 116112 w 607919"/>
                  <a:gd name="connsiteY8" fmla="*/ 473652 h 551610"/>
                  <a:gd name="connsiteX9" fmla="*/ 199155 w 607919"/>
                  <a:gd name="connsiteY9" fmla="*/ 390799 h 551610"/>
                  <a:gd name="connsiteX10" fmla="*/ 201956 w 607919"/>
                  <a:gd name="connsiteY10" fmla="*/ 397632 h 551610"/>
                  <a:gd name="connsiteX11" fmla="*/ 201956 w 607919"/>
                  <a:gd name="connsiteY11" fmla="*/ 551610 h 551610"/>
                  <a:gd name="connsiteX12" fmla="*/ 145363 w 607919"/>
                  <a:gd name="connsiteY12" fmla="*/ 551610 h 551610"/>
                  <a:gd name="connsiteX13" fmla="*/ 145363 w 607919"/>
                  <a:gd name="connsiteY13" fmla="*/ 454170 h 551610"/>
                  <a:gd name="connsiteX14" fmla="*/ 154879 w 607919"/>
                  <a:gd name="connsiteY14" fmla="*/ 431030 h 551610"/>
                  <a:gd name="connsiteX15" fmla="*/ 192315 w 607919"/>
                  <a:gd name="connsiteY15" fmla="*/ 393630 h 551610"/>
                  <a:gd name="connsiteX16" fmla="*/ 199155 w 607919"/>
                  <a:gd name="connsiteY16" fmla="*/ 390799 h 551610"/>
                  <a:gd name="connsiteX17" fmla="*/ 231082 w 607919"/>
                  <a:gd name="connsiteY17" fmla="*/ 388245 h 551610"/>
                  <a:gd name="connsiteX18" fmla="*/ 237930 w 607919"/>
                  <a:gd name="connsiteY18" fmla="*/ 391091 h 551610"/>
                  <a:gd name="connsiteX19" fmla="*/ 266763 w 607919"/>
                  <a:gd name="connsiteY19" fmla="*/ 419867 h 551610"/>
                  <a:gd name="connsiteX20" fmla="*/ 275915 w 607919"/>
                  <a:gd name="connsiteY20" fmla="*/ 428875 h 551610"/>
                  <a:gd name="connsiteX21" fmla="*/ 284941 w 607919"/>
                  <a:gd name="connsiteY21" fmla="*/ 451520 h 551610"/>
                  <a:gd name="connsiteX22" fmla="*/ 284941 w 607919"/>
                  <a:gd name="connsiteY22" fmla="*/ 551610 h 551610"/>
                  <a:gd name="connsiteX23" fmla="*/ 228277 w 607919"/>
                  <a:gd name="connsiteY23" fmla="*/ 551610 h 551610"/>
                  <a:gd name="connsiteX24" fmla="*/ 228277 w 607919"/>
                  <a:gd name="connsiteY24" fmla="*/ 394969 h 551610"/>
                  <a:gd name="connsiteX25" fmla="*/ 231082 w 607919"/>
                  <a:gd name="connsiteY25" fmla="*/ 388245 h 551610"/>
                  <a:gd name="connsiteX26" fmla="*/ 365148 w 607919"/>
                  <a:gd name="connsiteY26" fmla="*/ 381336 h 551610"/>
                  <a:gd name="connsiteX27" fmla="*/ 367997 w 607919"/>
                  <a:gd name="connsiteY27" fmla="*/ 388122 h 551610"/>
                  <a:gd name="connsiteX28" fmla="*/ 367997 w 607919"/>
                  <a:gd name="connsiteY28" fmla="*/ 551610 h 551610"/>
                  <a:gd name="connsiteX29" fmla="*/ 311262 w 607919"/>
                  <a:gd name="connsiteY29" fmla="*/ 551610 h 551610"/>
                  <a:gd name="connsiteX30" fmla="*/ 311262 w 607919"/>
                  <a:gd name="connsiteY30" fmla="*/ 444661 h 551610"/>
                  <a:gd name="connsiteX31" fmla="*/ 316898 w 607919"/>
                  <a:gd name="connsiteY31" fmla="*/ 425523 h 551610"/>
                  <a:gd name="connsiteX32" fmla="*/ 322534 w 607919"/>
                  <a:gd name="connsiteY32" fmla="*/ 419894 h 551610"/>
                  <a:gd name="connsiteX33" fmla="*/ 358353 w 607919"/>
                  <a:gd name="connsiteY33" fmla="*/ 384120 h 551610"/>
                  <a:gd name="connsiteX34" fmla="*/ 365148 w 607919"/>
                  <a:gd name="connsiteY34" fmla="*/ 381336 h 551610"/>
                  <a:gd name="connsiteX35" fmla="*/ 448177 w 607919"/>
                  <a:gd name="connsiteY35" fmla="*/ 298352 h 551610"/>
                  <a:gd name="connsiteX36" fmla="*/ 450982 w 607919"/>
                  <a:gd name="connsiteY36" fmla="*/ 305139 h 551610"/>
                  <a:gd name="connsiteX37" fmla="*/ 450982 w 607919"/>
                  <a:gd name="connsiteY37" fmla="*/ 551610 h 551610"/>
                  <a:gd name="connsiteX38" fmla="*/ 394318 w 607919"/>
                  <a:gd name="connsiteY38" fmla="*/ 551610 h 551610"/>
                  <a:gd name="connsiteX39" fmla="*/ 394318 w 607919"/>
                  <a:gd name="connsiteY39" fmla="*/ 361815 h 551610"/>
                  <a:gd name="connsiteX40" fmla="*/ 403846 w 607919"/>
                  <a:gd name="connsiteY40" fmla="*/ 338669 h 551610"/>
                  <a:gd name="connsiteX41" fmla="*/ 441329 w 607919"/>
                  <a:gd name="connsiteY41" fmla="*/ 301136 h 551610"/>
                  <a:gd name="connsiteX42" fmla="*/ 448177 w 607919"/>
                  <a:gd name="connsiteY42" fmla="*/ 298352 h 551610"/>
                  <a:gd name="connsiteX43" fmla="*/ 527085 w 607919"/>
                  <a:gd name="connsiteY43" fmla="*/ 219452 h 551610"/>
                  <a:gd name="connsiteX44" fmla="*/ 529874 w 607919"/>
                  <a:gd name="connsiteY44" fmla="*/ 226177 h 551610"/>
                  <a:gd name="connsiteX45" fmla="*/ 529874 w 607919"/>
                  <a:gd name="connsiteY45" fmla="*/ 551610 h 551610"/>
                  <a:gd name="connsiteX46" fmla="*/ 477232 w 607919"/>
                  <a:gd name="connsiteY46" fmla="*/ 551610 h 551610"/>
                  <a:gd name="connsiteX47" fmla="*/ 477232 w 607919"/>
                  <a:gd name="connsiteY47" fmla="*/ 278727 h 551610"/>
                  <a:gd name="connsiteX48" fmla="*/ 486883 w 607919"/>
                  <a:gd name="connsiteY48" fmla="*/ 255580 h 551610"/>
                  <a:gd name="connsiteX49" fmla="*/ 520348 w 607919"/>
                  <a:gd name="connsiteY49" fmla="*/ 222298 h 551610"/>
                  <a:gd name="connsiteX50" fmla="*/ 527085 w 607919"/>
                  <a:gd name="connsiteY50" fmla="*/ 219452 h 551610"/>
                  <a:gd name="connsiteX51" fmla="*/ 387769 w 607919"/>
                  <a:gd name="connsiteY51" fmla="*/ 0 h 551610"/>
                  <a:gd name="connsiteX52" fmla="*/ 580729 w 607919"/>
                  <a:gd name="connsiteY52" fmla="*/ 0 h 551610"/>
                  <a:gd name="connsiteX53" fmla="*/ 607919 w 607919"/>
                  <a:gd name="connsiteY53" fmla="*/ 26022 h 551610"/>
                  <a:gd name="connsiteX54" fmla="*/ 607919 w 607919"/>
                  <a:gd name="connsiteY54" fmla="*/ 219812 h 551610"/>
                  <a:gd name="connsiteX55" fmla="*/ 598271 w 607919"/>
                  <a:gd name="connsiteY55" fmla="*/ 223815 h 551610"/>
                  <a:gd name="connsiteX56" fmla="*/ 530610 w 607919"/>
                  <a:gd name="connsiteY56" fmla="*/ 156258 h 551610"/>
                  <a:gd name="connsiteX57" fmla="*/ 304320 w 607919"/>
                  <a:gd name="connsiteY57" fmla="*/ 382325 h 551610"/>
                  <a:gd name="connsiteX58" fmla="*/ 285024 w 607919"/>
                  <a:gd name="connsiteY58" fmla="*/ 382325 h 551610"/>
                  <a:gd name="connsiteX59" fmla="*/ 216360 w 607919"/>
                  <a:gd name="connsiteY59" fmla="*/ 313767 h 551610"/>
                  <a:gd name="connsiteX60" fmla="*/ 94068 w 607919"/>
                  <a:gd name="connsiteY60" fmla="*/ 435996 h 551610"/>
                  <a:gd name="connsiteX61" fmla="*/ 17260 w 607919"/>
                  <a:gd name="connsiteY61" fmla="*/ 435996 h 551610"/>
                  <a:gd name="connsiteX62" fmla="*/ 15882 w 607919"/>
                  <a:gd name="connsiteY62" fmla="*/ 434745 h 551610"/>
                  <a:gd name="connsiteX63" fmla="*/ 15882 w 607919"/>
                  <a:gd name="connsiteY63" fmla="*/ 358055 h 551610"/>
                  <a:gd name="connsiteX64" fmla="*/ 206837 w 607919"/>
                  <a:gd name="connsiteY64" fmla="*/ 167267 h 551610"/>
                  <a:gd name="connsiteX65" fmla="*/ 226008 w 607919"/>
                  <a:gd name="connsiteY65" fmla="*/ 167267 h 551610"/>
                  <a:gd name="connsiteX66" fmla="*/ 294672 w 607919"/>
                  <a:gd name="connsiteY66" fmla="*/ 235701 h 551610"/>
                  <a:gd name="connsiteX67" fmla="*/ 424481 w 607919"/>
                  <a:gd name="connsiteY67" fmla="*/ 105965 h 551610"/>
                  <a:gd name="connsiteX68" fmla="*/ 452423 w 607919"/>
                  <a:gd name="connsiteY68" fmla="*/ 78192 h 551610"/>
                  <a:gd name="connsiteX69" fmla="*/ 383885 w 607919"/>
                  <a:gd name="connsiteY69" fmla="*/ 9633 h 551610"/>
                  <a:gd name="connsiteX70" fmla="*/ 387769 w 607919"/>
                  <a:gd name="connsiteY70" fmla="*/ 0 h 551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607919" h="551610">
                    <a:moveTo>
                      <a:pt x="116112" y="473652"/>
                    </a:moveTo>
                    <a:cubicBezTo>
                      <a:pt x="117836" y="474356"/>
                      <a:pt x="118901" y="476670"/>
                      <a:pt x="118901" y="480423"/>
                    </a:cubicBezTo>
                    <a:lnTo>
                      <a:pt x="118901" y="551610"/>
                    </a:lnTo>
                    <a:lnTo>
                      <a:pt x="55604" y="551610"/>
                    </a:lnTo>
                    <a:lnTo>
                      <a:pt x="55604" y="540851"/>
                    </a:lnTo>
                    <a:cubicBezTo>
                      <a:pt x="55604" y="534971"/>
                      <a:pt x="59991" y="525838"/>
                      <a:pt x="65255" y="520583"/>
                    </a:cubicBezTo>
                    <a:lnTo>
                      <a:pt x="83555" y="502317"/>
                    </a:lnTo>
                    <a:lnTo>
                      <a:pt x="109375" y="476545"/>
                    </a:lnTo>
                    <a:cubicBezTo>
                      <a:pt x="112007" y="473855"/>
                      <a:pt x="114389" y="472948"/>
                      <a:pt x="116112" y="473652"/>
                    </a:cubicBezTo>
                    <a:close/>
                    <a:moveTo>
                      <a:pt x="199155" y="390799"/>
                    </a:moveTo>
                    <a:cubicBezTo>
                      <a:pt x="200892" y="391534"/>
                      <a:pt x="201956" y="393880"/>
                      <a:pt x="201956" y="397632"/>
                    </a:cubicBezTo>
                    <a:lnTo>
                      <a:pt x="201956" y="551610"/>
                    </a:lnTo>
                    <a:lnTo>
                      <a:pt x="145363" y="551610"/>
                    </a:lnTo>
                    <a:lnTo>
                      <a:pt x="145363" y="454170"/>
                    </a:lnTo>
                    <a:cubicBezTo>
                      <a:pt x="145363" y="446665"/>
                      <a:pt x="149620" y="436283"/>
                      <a:pt x="154879" y="431030"/>
                    </a:cubicBezTo>
                    <a:lnTo>
                      <a:pt x="192315" y="393630"/>
                    </a:lnTo>
                    <a:cubicBezTo>
                      <a:pt x="195007" y="390941"/>
                      <a:pt x="197417" y="390065"/>
                      <a:pt x="199155" y="390799"/>
                    </a:cubicBezTo>
                    <a:close/>
                    <a:moveTo>
                      <a:pt x="231082" y="388245"/>
                    </a:moveTo>
                    <a:cubicBezTo>
                      <a:pt x="232822" y="387525"/>
                      <a:pt x="235235" y="388401"/>
                      <a:pt x="237930" y="391091"/>
                    </a:cubicBezTo>
                    <a:lnTo>
                      <a:pt x="266763" y="419867"/>
                    </a:lnTo>
                    <a:lnTo>
                      <a:pt x="275915" y="428875"/>
                    </a:lnTo>
                    <a:cubicBezTo>
                      <a:pt x="280929" y="433879"/>
                      <a:pt x="284941" y="444013"/>
                      <a:pt x="284941" y="451520"/>
                    </a:cubicBezTo>
                    <a:lnTo>
                      <a:pt x="284941" y="551610"/>
                    </a:lnTo>
                    <a:lnTo>
                      <a:pt x="228277" y="551610"/>
                    </a:lnTo>
                    <a:lnTo>
                      <a:pt x="228277" y="394969"/>
                    </a:lnTo>
                    <a:cubicBezTo>
                      <a:pt x="228277" y="391278"/>
                      <a:pt x="229343" y="388964"/>
                      <a:pt x="231082" y="388245"/>
                    </a:cubicBezTo>
                    <a:close/>
                    <a:moveTo>
                      <a:pt x="365148" y="381336"/>
                    </a:moveTo>
                    <a:cubicBezTo>
                      <a:pt x="366901" y="382055"/>
                      <a:pt x="367997" y="384370"/>
                      <a:pt x="367997" y="388122"/>
                    </a:cubicBezTo>
                    <a:lnTo>
                      <a:pt x="367997" y="551610"/>
                    </a:lnTo>
                    <a:lnTo>
                      <a:pt x="311262" y="551610"/>
                    </a:lnTo>
                    <a:lnTo>
                      <a:pt x="311262" y="444661"/>
                    </a:lnTo>
                    <a:cubicBezTo>
                      <a:pt x="311262" y="437156"/>
                      <a:pt x="313767" y="428650"/>
                      <a:pt x="316898" y="425523"/>
                    </a:cubicBezTo>
                    <a:cubicBezTo>
                      <a:pt x="320029" y="422396"/>
                      <a:pt x="322534" y="419894"/>
                      <a:pt x="322534" y="419894"/>
                    </a:cubicBezTo>
                    <a:lnTo>
                      <a:pt x="358353" y="384120"/>
                    </a:lnTo>
                    <a:cubicBezTo>
                      <a:pt x="360983" y="381493"/>
                      <a:pt x="363394" y="380617"/>
                      <a:pt x="365148" y="381336"/>
                    </a:cubicBezTo>
                    <a:close/>
                    <a:moveTo>
                      <a:pt x="448177" y="298352"/>
                    </a:moveTo>
                    <a:cubicBezTo>
                      <a:pt x="449916" y="299071"/>
                      <a:pt x="450982" y="301386"/>
                      <a:pt x="450982" y="305139"/>
                    </a:cubicBezTo>
                    <a:lnTo>
                      <a:pt x="450982" y="551610"/>
                    </a:lnTo>
                    <a:lnTo>
                      <a:pt x="394318" y="551610"/>
                    </a:lnTo>
                    <a:lnTo>
                      <a:pt x="394318" y="361815"/>
                    </a:lnTo>
                    <a:cubicBezTo>
                      <a:pt x="394318" y="354308"/>
                      <a:pt x="398580" y="343924"/>
                      <a:pt x="403846" y="338669"/>
                    </a:cubicBezTo>
                    <a:lnTo>
                      <a:pt x="441329" y="301136"/>
                    </a:lnTo>
                    <a:cubicBezTo>
                      <a:pt x="444024" y="298508"/>
                      <a:pt x="446438" y="297633"/>
                      <a:pt x="448177" y="298352"/>
                    </a:cubicBezTo>
                    <a:close/>
                    <a:moveTo>
                      <a:pt x="527085" y="219452"/>
                    </a:moveTo>
                    <a:cubicBezTo>
                      <a:pt x="528809" y="220171"/>
                      <a:pt x="529874" y="222486"/>
                      <a:pt x="529874" y="226177"/>
                    </a:cubicBezTo>
                    <a:lnTo>
                      <a:pt x="529874" y="551610"/>
                    </a:lnTo>
                    <a:lnTo>
                      <a:pt x="477232" y="551610"/>
                    </a:lnTo>
                    <a:lnTo>
                      <a:pt x="477232" y="278727"/>
                    </a:lnTo>
                    <a:cubicBezTo>
                      <a:pt x="477232" y="271345"/>
                      <a:pt x="481494" y="260960"/>
                      <a:pt x="486883" y="255580"/>
                    </a:cubicBezTo>
                    <a:lnTo>
                      <a:pt x="520348" y="222298"/>
                    </a:lnTo>
                    <a:cubicBezTo>
                      <a:pt x="522980" y="219608"/>
                      <a:pt x="525362" y="218732"/>
                      <a:pt x="527085" y="219452"/>
                    </a:cubicBezTo>
                    <a:close/>
                    <a:moveTo>
                      <a:pt x="387769" y="0"/>
                    </a:moveTo>
                    <a:lnTo>
                      <a:pt x="580729" y="0"/>
                    </a:lnTo>
                    <a:cubicBezTo>
                      <a:pt x="594512" y="0"/>
                      <a:pt x="607919" y="12135"/>
                      <a:pt x="607919" y="26022"/>
                    </a:cubicBezTo>
                    <a:lnTo>
                      <a:pt x="607919" y="219812"/>
                    </a:lnTo>
                    <a:cubicBezTo>
                      <a:pt x="607919" y="227318"/>
                      <a:pt x="603534" y="229070"/>
                      <a:pt x="598271" y="223815"/>
                    </a:cubicBezTo>
                    <a:lnTo>
                      <a:pt x="530610" y="156258"/>
                    </a:lnTo>
                    <a:lnTo>
                      <a:pt x="304320" y="382325"/>
                    </a:lnTo>
                    <a:cubicBezTo>
                      <a:pt x="298932" y="387580"/>
                      <a:pt x="290412" y="387580"/>
                      <a:pt x="285024" y="382325"/>
                    </a:cubicBezTo>
                    <a:lnTo>
                      <a:pt x="216360" y="313767"/>
                    </a:lnTo>
                    <a:lnTo>
                      <a:pt x="94068" y="435996"/>
                    </a:lnTo>
                    <a:cubicBezTo>
                      <a:pt x="72767" y="457264"/>
                      <a:pt x="38435" y="457264"/>
                      <a:pt x="17260" y="435996"/>
                    </a:cubicBezTo>
                    <a:lnTo>
                      <a:pt x="15882" y="434745"/>
                    </a:lnTo>
                    <a:cubicBezTo>
                      <a:pt x="-5294" y="413477"/>
                      <a:pt x="-5294" y="379198"/>
                      <a:pt x="15882" y="358055"/>
                    </a:cubicBezTo>
                    <a:lnTo>
                      <a:pt x="206837" y="167267"/>
                    </a:lnTo>
                    <a:cubicBezTo>
                      <a:pt x="212100" y="161888"/>
                      <a:pt x="220745" y="161888"/>
                      <a:pt x="226008" y="167267"/>
                    </a:cubicBezTo>
                    <a:lnTo>
                      <a:pt x="294672" y="235701"/>
                    </a:lnTo>
                    <a:lnTo>
                      <a:pt x="424481" y="105965"/>
                    </a:lnTo>
                    <a:lnTo>
                      <a:pt x="452423" y="78192"/>
                    </a:lnTo>
                    <a:lnTo>
                      <a:pt x="383885" y="9633"/>
                    </a:lnTo>
                    <a:cubicBezTo>
                      <a:pt x="378497" y="4379"/>
                      <a:pt x="380376" y="0"/>
                      <a:pt x="38776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3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>
                  <a:lnSpc>
                    <a:spcPct val="152000"/>
                  </a:lnSpc>
                </a:pPr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</p:grp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SSTF</a:t>
            </a:r>
            <a:r>
              <a:rPr lang="zh-CN" altLang="en-US" sz="2800" b="1" dirty="0">
                <a:solidFill>
                  <a:schemeClr val="bg1"/>
                </a:solidFill>
              </a:rPr>
              <a:t>示例</a:t>
            </a:r>
          </a:p>
        </p:txBody>
      </p:sp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1" t="9895" r="658" b="9366"/>
          <a:stretch>
            <a:fillRect/>
          </a:stretch>
        </p:blipFill>
        <p:spPr bwMode="auto">
          <a:xfrm>
            <a:off x="5387670" y="1265978"/>
            <a:ext cx="5752555" cy="4355622"/>
          </a:xfrm>
          <a:prstGeom prst="rect">
            <a:avLst/>
          </a:prstGeom>
          <a:noFill/>
          <a:ln w="57150" cmpd="thickThin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925" y="1088370"/>
            <a:ext cx="4371113" cy="5196520"/>
          </a:xfrm>
          <a:prstGeom prst="rect">
            <a:avLst/>
          </a:prstGeom>
        </p:spPr>
      </p:pic>
      <p:sp>
        <p:nvSpPr>
          <p:cNvPr id="5" name="内容占位符 2"/>
          <p:cNvSpPr txBox="1"/>
          <p:nvPr/>
        </p:nvSpPr>
        <p:spPr>
          <a:xfrm>
            <a:off x="6511357" y="5770900"/>
            <a:ext cx="3505180" cy="40005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Tx/>
              <a:buNone/>
            </a:pPr>
            <a:r>
              <a:rPr lang="zh-CN" altLang="en-US" sz="2400" dirty="0">
                <a:latin typeface="+mn-ea"/>
              </a:rPr>
              <a:t>总的磁头移动为</a:t>
            </a:r>
            <a:r>
              <a:rPr lang="en-US" altLang="zh-CN" sz="2400" dirty="0">
                <a:latin typeface="+mn-ea"/>
              </a:rPr>
              <a:t>236</a:t>
            </a:r>
            <a:r>
              <a:rPr lang="zh-CN" altLang="en-US" sz="2400" dirty="0">
                <a:latin typeface="+mn-ea"/>
              </a:rPr>
              <a:t>柱面</a:t>
            </a:r>
          </a:p>
        </p:txBody>
      </p: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7.8.3 </a:t>
            </a:r>
            <a:r>
              <a:rPr lang="zh-CN" altLang="en-US" sz="2800" b="1" dirty="0">
                <a:solidFill>
                  <a:schemeClr val="bg1"/>
                </a:solidFill>
              </a:rPr>
              <a:t>基于扫描的磁盘调度算法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99455" y="1526341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4" name="文本框 3"/>
          <p:cNvSpPr txBox="1"/>
          <p:nvPr/>
        </p:nvSpPr>
        <p:spPr>
          <a:xfrm>
            <a:off x="1725596" y="1975820"/>
            <a:ext cx="9543418" cy="9416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lnSpc>
                <a:spcPct val="132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>
                <a:latin typeface="+mn-ea"/>
              </a:rPr>
              <a:t>SSTF</a:t>
            </a:r>
            <a:r>
              <a:rPr lang="zh-CN" altLang="en-US" sz="2200" dirty="0">
                <a:latin typeface="+mn-ea"/>
              </a:rPr>
              <a:t>寻道性能好，但可能导致某个进程发生“饥饿”现象。改进</a:t>
            </a:r>
            <a:r>
              <a:rPr lang="en-US" altLang="zh-CN" sz="2200" dirty="0">
                <a:latin typeface="+mn-ea"/>
              </a:rPr>
              <a:t>SSTF</a:t>
            </a:r>
            <a:r>
              <a:rPr lang="zh-CN" altLang="en-US" sz="2200" dirty="0">
                <a:latin typeface="+mn-ea"/>
              </a:rPr>
              <a:t>后，可防止进程出现“饥饿”现象。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725596" y="1514155"/>
            <a:ext cx="63386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>
                <a:sym typeface="Wingdings" panose="05000000000000000000" pitchFamily="2" charset="2"/>
              </a:rPr>
              <a:t>进程</a:t>
            </a:r>
            <a:r>
              <a:rPr lang="zh-CN" altLang="en-US" sz="2400" dirty="0">
                <a:solidFill>
                  <a:srgbClr val="FF0000"/>
                </a:solidFill>
                <a:sym typeface="Wingdings" panose="05000000000000000000" pitchFamily="2" charset="2"/>
              </a:rPr>
              <a:t>“饥饿”现象</a:t>
            </a:r>
            <a:endParaRPr lang="zh-CN" altLang="en-US" sz="2400" dirty="0">
              <a:sym typeface="Wingdings" panose="05000000000000000000" pitchFamily="2" charset="2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99455" y="299003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7" name="文本框 6"/>
          <p:cNvSpPr txBox="1"/>
          <p:nvPr/>
        </p:nvSpPr>
        <p:spPr>
          <a:xfrm>
            <a:off x="1725596" y="3439509"/>
            <a:ext cx="9543418" cy="24362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lnSpc>
                <a:spcPct val="132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latin typeface="+mn-ea"/>
              </a:rPr>
              <a:t>也称：电梯调度算法。</a:t>
            </a:r>
          </a:p>
          <a:p>
            <a:pPr marL="342900" indent="-342900" algn="just">
              <a:lnSpc>
                <a:spcPct val="132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latin typeface="+mn-ea"/>
              </a:rPr>
              <a:t>不仅考虑到欲访问的磁道与当前磁道的距离，更优先考虑的是磁头当前的移动方向。</a:t>
            </a:r>
          </a:p>
          <a:p>
            <a:pPr marL="342900" indent="-342900" algn="just">
              <a:lnSpc>
                <a:spcPct val="132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latin typeface="+mn-ea"/>
              </a:rPr>
              <a:t>磁臂从磁盘的一端向另一段移动，沿途响应服务请求。当到达另一端时，磁头改变移动方向，继续处理。磁头在磁盘上来回扫描。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1725596" y="2977844"/>
            <a:ext cx="63386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>
                <a:solidFill>
                  <a:srgbClr val="0000FF"/>
                </a:solidFill>
                <a:sym typeface="Wingdings" panose="05000000000000000000" pitchFamily="2" charset="2"/>
              </a:rPr>
              <a:t>SCAN</a:t>
            </a:r>
            <a:r>
              <a:rPr lang="zh-CN" altLang="en-US" sz="2400" dirty="0">
                <a:solidFill>
                  <a:srgbClr val="0000FF"/>
                </a:solidFill>
                <a:sym typeface="Wingdings" panose="05000000000000000000" pitchFamily="2" charset="2"/>
              </a:rPr>
              <a:t>算法</a:t>
            </a:r>
          </a:p>
        </p:txBody>
      </p:sp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SCAN</a:t>
            </a:r>
            <a:r>
              <a:rPr lang="zh-CN" altLang="en-US" sz="2800" b="1" dirty="0">
                <a:solidFill>
                  <a:schemeClr val="bg1"/>
                </a:solidFill>
              </a:rPr>
              <a:t>示例</a:t>
            </a:r>
          </a:p>
        </p:txBody>
      </p:sp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5" t="7816" r="438" b="8105"/>
          <a:stretch>
            <a:fillRect/>
          </a:stretch>
        </p:blipFill>
        <p:spPr bwMode="auto">
          <a:xfrm>
            <a:off x="4797390" y="1249550"/>
            <a:ext cx="6928629" cy="3974605"/>
          </a:xfrm>
          <a:prstGeom prst="rect">
            <a:avLst/>
          </a:prstGeom>
          <a:noFill/>
          <a:ln w="57150" cmpd="thickThin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8690" y="1076325"/>
            <a:ext cx="4299045" cy="5118413"/>
          </a:xfrm>
          <a:prstGeom prst="rect">
            <a:avLst/>
          </a:prstGeom>
        </p:spPr>
      </p:pic>
      <p:sp>
        <p:nvSpPr>
          <p:cNvPr id="5" name="内容占位符 2"/>
          <p:cNvSpPr txBox="1"/>
          <p:nvPr/>
        </p:nvSpPr>
        <p:spPr>
          <a:xfrm>
            <a:off x="6343932" y="5471767"/>
            <a:ext cx="3505180" cy="40005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Tx/>
              <a:buNone/>
            </a:pPr>
            <a:r>
              <a:rPr lang="zh-CN" altLang="en-US" sz="2400" dirty="0">
                <a:latin typeface="+mn-ea"/>
              </a:rPr>
              <a:t>总的磁头移动为</a:t>
            </a:r>
            <a:r>
              <a:rPr lang="en-US" altLang="zh-CN" sz="2400" dirty="0">
                <a:latin typeface="+mn-ea"/>
              </a:rPr>
              <a:t>208</a:t>
            </a:r>
            <a:r>
              <a:rPr lang="zh-CN" altLang="en-US" sz="2400" dirty="0">
                <a:latin typeface="+mn-ea"/>
              </a:rPr>
              <a:t>柱面</a:t>
            </a:r>
          </a:p>
        </p:txBody>
      </p:sp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循环扫描算法</a:t>
            </a:r>
            <a:r>
              <a:rPr lang="en-US" altLang="zh-CN" sz="2800" b="1" dirty="0">
                <a:solidFill>
                  <a:schemeClr val="bg1"/>
                </a:solidFill>
              </a:rPr>
              <a:t>CSCAN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grpSp>
        <p:nvGrpSpPr>
          <p:cNvPr id="3" name="185926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9925" y="1193934"/>
            <a:ext cx="10838960" cy="5245502"/>
            <a:chOff x="660400" y="1580300"/>
            <a:chExt cx="10838960" cy="5245502"/>
          </a:xfrm>
        </p:grpSpPr>
        <p:sp>
          <p:nvSpPr>
            <p:cNvPr id="4" name="íṥḻîḑe"/>
            <p:cNvSpPr/>
            <p:nvPr/>
          </p:nvSpPr>
          <p:spPr>
            <a:xfrm>
              <a:off x="682048" y="1580300"/>
              <a:ext cx="3476055" cy="2567583"/>
            </a:xfrm>
            <a:prstGeom prst="rect">
              <a:avLst/>
            </a:prstGeom>
            <a:blipFill>
              <a:blip r:embed="rId3"/>
              <a:srcRect/>
              <a:stretch>
                <a:fillRect t="-17779" b="-17603"/>
              </a:stretch>
            </a:blip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5" name="ïşḻiḍé"/>
            <p:cNvSpPr/>
            <p:nvPr/>
          </p:nvSpPr>
          <p:spPr>
            <a:xfrm>
              <a:off x="660400" y="4245058"/>
              <a:ext cx="3517243" cy="1670100"/>
            </a:xfrm>
            <a:prstGeom prst="rect">
              <a:avLst/>
            </a:prstGeom>
            <a:solidFill>
              <a:schemeClr val="bg1"/>
            </a:solidFill>
            <a:ln w="952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54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2200" dirty="0">
                  <a:solidFill>
                    <a:srgbClr val="FF0000"/>
                  </a:solidFill>
                </a:rPr>
                <a:t>CSCAN</a:t>
              </a:r>
              <a:r>
                <a:rPr lang="zh-CN" altLang="en-US" sz="2200" dirty="0">
                  <a:solidFill>
                    <a:srgbClr val="FF0000"/>
                  </a:solidFill>
                </a:rPr>
                <a:t>算法</a:t>
              </a:r>
              <a:r>
                <a:rPr lang="zh-CN" altLang="en-US" sz="2200" dirty="0">
                  <a:solidFill>
                    <a:srgbClr val="0000FF"/>
                  </a:solidFill>
                </a:rPr>
                <a:t>提供比</a:t>
              </a:r>
              <a:r>
                <a:rPr lang="en-US" altLang="zh-CN" sz="2200" dirty="0">
                  <a:solidFill>
                    <a:srgbClr val="0000FF"/>
                  </a:solidFill>
                </a:rPr>
                <a:t>SCAN</a:t>
              </a:r>
              <a:r>
                <a:rPr lang="zh-CN" altLang="en-US" sz="2200" dirty="0">
                  <a:solidFill>
                    <a:srgbClr val="0000FF"/>
                  </a:solidFill>
                </a:rPr>
                <a:t>算法更为均匀的等待时间</a:t>
              </a:r>
              <a:r>
                <a:rPr lang="zh-CN" altLang="en-US" sz="2200" dirty="0">
                  <a:solidFill>
                    <a:schemeClr val="tx1"/>
                  </a:solidFill>
                </a:rPr>
                <a:t>。</a:t>
              </a:r>
            </a:p>
          </p:txBody>
        </p:sp>
        <p:sp>
          <p:nvSpPr>
            <p:cNvPr id="6" name="îŝļiḋe"/>
            <p:cNvSpPr/>
            <p:nvPr/>
          </p:nvSpPr>
          <p:spPr>
            <a:xfrm>
              <a:off x="4352677" y="1580300"/>
              <a:ext cx="3476055" cy="2567583"/>
            </a:xfrm>
            <a:prstGeom prst="rect">
              <a:avLst/>
            </a:prstGeom>
            <a:blipFill>
              <a:blip r:embed="rId4"/>
              <a:srcRect/>
              <a:stretch>
                <a:fillRect t="-50445" b="-49949"/>
              </a:stretch>
            </a:blip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7" name="ïšlïḑè"/>
            <p:cNvSpPr/>
            <p:nvPr/>
          </p:nvSpPr>
          <p:spPr>
            <a:xfrm>
              <a:off x="4331029" y="4245057"/>
              <a:ext cx="3517243" cy="2580745"/>
            </a:xfrm>
            <a:prstGeom prst="rect">
              <a:avLst/>
            </a:prstGeom>
            <a:noFill/>
            <a:ln w="952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54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2200" dirty="0">
                  <a:solidFill>
                    <a:schemeClr val="tx1"/>
                  </a:solidFill>
                </a:rPr>
                <a:t>磁头从磁盘一端移到另一端，随着移动不断的处理请求。不过，当磁头移到另一端时，</a:t>
              </a:r>
              <a:r>
                <a:rPr lang="zh-CN" altLang="en-US" sz="2200" dirty="0">
                  <a:solidFill>
                    <a:srgbClr val="FF0000"/>
                  </a:solidFill>
                </a:rPr>
                <a:t>马上返回到磁盘开始，返回时并不处理请求。</a:t>
              </a:r>
            </a:p>
          </p:txBody>
        </p:sp>
        <p:sp>
          <p:nvSpPr>
            <p:cNvPr id="8" name="íŝḻiďé"/>
            <p:cNvSpPr/>
            <p:nvPr/>
          </p:nvSpPr>
          <p:spPr>
            <a:xfrm>
              <a:off x="8023305" y="1580300"/>
              <a:ext cx="3476055" cy="2567583"/>
            </a:xfrm>
            <a:prstGeom prst="rect">
              <a:avLst/>
            </a:prstGeom>
            <a:blipFill>
              <a:blip r:embed="rId5"/>
              <a:srcRect/>
              <a:stretch>
                <a:fillRect l="-5418" r="-5379"/>
              </a:stretch>
            </a:blip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9" name="í$ḷîḋe"/>
            <p:cNvSpPr/>
            <p:nvPr/>
          </p:nvSpPr>
          <p:spPr>
            <a:xfrm>
              <a:off x="8001657" y="4245058"/>
              <a:ext cx="3497703" cy="1670100"/>
            </a:xfrm>
            <a:prstGeom prst="rect">
              <a:avLst/>
            </a:prstGeom>
            <a:solidFill>
              <a:schemeClr val="bg1"/>
            </a:solidFill>
            <a:ln w="952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/>
                  </a:gs>
                </a:gsLst>
                <a:lin ang="54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2200" dirty="0">
                  <a:solidFill>
                    <a:schemeClr val="tx1"/>
                  </a:solidFill>
                </a:rPr>
                <a:t>将柱面当作一个环链，将最后柱面和第一柱面相连。</a:t>
              </a:r>
            </a:p>
          </p:txBody>
        </p:sp>
      </p:grp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CSCAN</a:t>
            </a:r>
            <a:r>
              <a:rPr lang="zh-CN" altLang="en-US" sz="2800" b="1" dirty="0">
                <a:solidFill>
                  <a:schemeClr val="bg1"/>
                </a:solidFill>
              </a:rPr>
              <a:t>示例</a:t>
            </a:r>
          </a:p>
        </p:txBody>
      </p:sp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0" t="7787" r="714" b="7481"/>
          <a:stretch>
            <a:fillRect/>
          </a:stretch>
        </p:blipFill>
        <p:spPr bwMode="auto">
          <a:xfrm>
            <a:off x="5008830" y="1214138"/>
            <a:ext cx="6486802" cy="4774537"/>
          </a:xfrm>
          <a:prstGeom prst="rect">
            <a:avLst/>
          </a:prstGeom>
          <a:noFill/>
          <a:ln w="57150" cmpd="thickThin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113" y="1087138"/>
            <a:ext cx="4266481" cy="50626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CLOOK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939985" y="1442353"/>
            <a:ext cx="2666100" cy="3880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lnSpc>
                <a:spcPct val="123000"/>
              </a:lnSpc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n"/>
            </a:pPr>
            <a:r>
              <a:rPr lang="en-US" altLang="zh-CN" sz="2400" dirty="0">
                <a:latin typeface="+mn-ea"/>
              </a:rPr>
              <a:t>C-SCAN</a:t>
            </a:r>
            <a:r>
              <a:rPr lang="zh-CN" altLang="en-US" sz="2400" dirty="0">
                <a:latin typeface="+mn-ea"/>
              </a:rPr>
              <a:t>的一种形式。</a:t>
            </a:r>
          </a:p>
          <a:p>
            <a:pPr marL="342900" indent="-342900" algn="just">
              <a:lnSpc>
                <a:spcPct val="123000"/>
              </a:lnSpc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n"/>
            </a:pPr>
            <a:r>
              <a:rPr lang="zh-CN" altLang="en-US" sz="2400" dirty="0">
                <a:latin typeface="+mn-ea"/>
              </a:rPr>
              <a:t>磁头只移动到一个方向上最远的请求为止。</a:t>
            </a:r>
            <a:r>
              <a:rPr lang="zh-CN" altLang="en-US" sz="2400" dirty="0">
                <a:solidFill>
                  <a:srgbClr val="FF0000"/>
                </a:solidFill>
                <a:latin typeface="+mn-ea"/>
              </a:rPr>
              <a:t>接着，它马上回头，而不是继续到磁盘的尽头</a:t>
            </a:r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4" t="7645" r="459" b="7677"/>
          <a:stretch>
            <a:fillRect/>
          </a:stretch>
        </p:blipFill>
        <p:spPr bwMode="auto">
          <a:xfrm>
            <a:off x="4213485" y="1606151"/>
            <a:ext cx="6965430" cy="4099191"/>
          </a:xfrm>
          <a:prstGeom prst="rect">
            <a:avLst/>
          </a:prstGeom>
          <a:noFill/>
          <a:ln w="57150" cmpd="thickThin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>
                <a:solidFill>
                  <a:schemeClr val="bg1"/>
                </a:solidFill>
              </a:rPr>
              <a:t>NStepSCAN</a:t>
            </a:r>
            <a:r>
              <a:rPr lang="zh-CN" altLang="en-US" sz="2800" b="1" dirty="0">
                <a:solidFill>
                  <a:schemeClr val="bg1"/>
                </a:solidFill>
              </a:rPr>
              <a:t>和</a:t>
            </a:r>
            <a:r>
              <a:rPr lang="en-US" altLang="zh-CN" sz="2800" b="1" dirty="0">
                <a:solidFill>
                  <a:schemeClr val="bg1"/>
                </a:solidFill>
              </a:rPr>
              <a:t>FSCAN</a:t>
            </a:r>
            <a:r>
              <a:rPr lang="zh-CN" altLang="en-US" sz="2800" b="1" dirty="0">
                <a:solidFill>
                  <a:schemeClr val="bg1"/>
                </a:solidFill>
              </a:rPr>
              <a:t>算法</a:t>
            </a:r>
          </a:p>
        </p:txBody>
      </p:sp>
      <p:sp>
        <p:nvSpPr>
          <p:cNvPr id="3" name="ïşľîďè"/>
          <p:cNvSpPr/>
          <p:nvPr/>
        </p:nvSpPr>
        <p:spPr>
          <a:xfrm>
            <a:off x="1588" y="1143000"/>
            <a:ext cx="4669654" cy="5003800"/>
          </a:xfrm>
          <a:prstGeom prst="rect">
            <a:avLst/>
          </a:prstGeom>
          <a:blipFill>
            <a:blip r:embed="rId2"/>
            <a:stretch>
              <a:fillRect l="-30450" r="-30284"/>
            </a:stretch>
          </a:blipFill>
          <a:ln w="190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 defTabSz="914400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4" name="îŝļiḋe"/>
          <p:cNvSpPr/>
          <p:nvPr/>
        </p:nvSpPr>
        <p:spPr>
          <a:xfrm>
            <a:off x="4014295" y="1143000"/>
            <a:ext cx="656948" cy="5003800"/>
          </a:xfrm>
          <a:prstGeom prst="rect">
            <a:avLst/>
          </a:prstGeom>
          <a:solidFill>
            <a:schemeClr val="accent1">
              <a:alpha val="70000"/>
            </a:schemeClr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 defTabSz="914400"/>
            <a:endParaRPr lang="zh-CN" altLang="en-US" sz="2000" b="1" dirty="0">
              <a:solidFill>
                <a:schemeClr val="bg1"/>
              </a:solidFill>
            </a:endParaRPr>
          </a:p>
        </p:txBody>
      </p:sp>
      <p:grpSp>
        <p:nvGrpSpPr>
          <p:cNvPr id="5" name="í$1iďè"/>
          <p:cNvGrpSpPr/>
          <p:nvPr/>
        </p:nvGrpSpPr>
        <p:grpSpPr>
          <a:xfrm>
            <a:off x="4183062" y="1607317"/>
            <a:ext cx="7562470" cy="1702554"/>
            <a:chOff x="4136995" y="1337039"/>
            <a:chExt cx="7562470" cy="1702554"/>
          </a:xfrm>
        </p:grpSpPr>
        <p:sp>
          <p:nvSpPr>
            <p:cNvPr id="6" name="îslîďê"/>
            <p:cNvSpPr/>
            <p:nvPr/>
          </p:nvSpPr>
          <p:spPr>
            <a:xfrm>
              <a:off x="4136995" y="1712614"/>
              <a:ext cx="408372" cy="363926"/>
            </a:xfrm>
            <a:custGeom>
              <a:avLst/>
              <a:gdLst>
                <a:gd name="connsiteX0" fmla="*/ 514822 w 607336"/>
                <a:gd name="connsiteY0" fmla="*/ 287718 h 541236"/>
                <a:gd name="connsiteX1" fmla="*/ 501327 w 607336"/>
                <a:gd name="connsiteY1" fmla="*/ 301190 h 541236"/>
                <a:gd name="connsiteX2" fmla="*/ 501327 w 607336"/>
                <a:gd name="connsiteY2" fmla="*/ 357185 h 541236"/>
                <a:gd name="connsiteX3" fmla="*/ 514822 w 607336"/>
                <a:gd name="connsiteY3" fmla="*/ 370656 h 541236"/>
                <a:gd name="connsiteX4" fmla="*/ 528317 w 607336"/>
                <a:gd name="connsiteY4" fmla="*/ 357185 h 541236"/>
                <a:gd name="connsiteX5" fmla="*/ 528317 w 607336"/>
                <a:gd name="connsiteY5" fmla="*/ 301190 h 541236"/>
                <a:gd name="connsiteX6" fmla="*/ 514822 w 607336"/>
                <a:gd name="connsiteY6" fmla="*/ 287718 h 541236"/>
                <a:gd name="connsiteX7" fmla="*/ 513884 w 607336"/>
                <a:gd name="connsiteY7" fmla="*/ 257846 h 541236"/>
                <a:gd name="connsiteX8" fmla="*/ 524093 w 607336"/>
                <a:gd name="connsiteY8" fmla="*/ 258315 h 541236"/>
                <a:gd name="connsiteX9" fmla="*/ 591098 w 607336"/>
                <a:gd name="connsiteY9" fmla="*/ 286664 h 541236"/>
                <a:gd name="connsiteX10" fmla="*/ 596496 w 607336"/>
                <a:gd name="connsiteY10" fmla="*/ 294630 h 541236"/>
                <a:gd name="connsiteX11" fmla="*/ 605297 w 607336"/>
                <a:gd name="connsiteY11" fmla="*/ 403457 h 541236"/>
                <a:gd name="connsiteX12" fmla="*/ 581123 w 607336"/>
                <a:gd name="connsiteY12" fmla="*/ 508770 h 541236"/>
                <a:gd name="connsiteX13" fmla="*/ 575725 w 607336"/>
                <a:gd name="connsiteY13" fmla="*/ 516736 h 541236"/>
                <a:gd name="connsiteX14" fmla="*/ 514822 w 607336"/>
                <a:gd name="connsiteY14" fmla="*/ 536650 h 541236"/>
                <a:gd name="connsiteX15" fmla="*/ 453919 w 607336"/>
                <a:gd name="connsiteY15" fmla="*/ 516736 h 541236"/>
                <a:gd name="connsiteX16" fmla="*/ 448521 w 607336"/>
                <a:gd name="connsiteY16" fmla="*/ 508770 h 541236"/>
                <a:gd name="connsiteX17" fmla="*/ 424348 w 607336"/>
                <a:gd name="connsiteY17" fmla="*/ 403457 h 541236"/>
                <a:gd name="connsiteX18" fmla="*/ 433149 w 607336"/>
                <a:gd name="connsiteY18" fmla="*/ 294630 h 541236"/>
                <a:gd name="connsiteX19" fmla="*/ 438547 w 607336"/>
                <a:gd name="connsiteY19" fmla="*/ 286664 h 541236"/>
                <a:gd name="connsiteX20" fmla="*/ 502970 w 607336"/>
                <a:gd name="connsiteY20" fmla="*/ 258315 h 541236"/>
                <a:gd name="connsiteX21" fmla="*/ 513884 w 607336"/>
                <a:gd name="connsiteY21" fmla="*/ 257846 h 541236"/>
                <a:gd name="connsiteX22" fmla="*/ 23466 w 607336"/>
                <a:gd name="connsiteY22" fmla="*/ 0 h 541236"/>
                <a:gd name="connsiteX23" fmla="*/ 555312 w 607336"/>
                <a:gd name="connsiteY23" fmla="*/ 0 h 541236"/>
                <a:gd name="connsiteX24" fmla="*/ 578778 w 607336"/>
                <a:gd name="connsiteY24" fmla="*/ 23430 h 541236"/>
                <a:gd name="connsiteX25" fmla="*/ 578778 w 607336"/>
                <a:gd name="connsiteY25" fmla="*/ 253163 h 541236"/>
                <a:gd name="connsiteX26" fmla="*/ 531847 w 607336"/>
                <a:gd name="connsiteY26" fmla="*/ 239339 h 541236"/>
                <a:gd name="connsiteX27" fmla="*/ 531847 w 607336"/>
                <a:gd name="connsiteY27" fmla="*/ 46861 h 541236"/>
                <a:gd name="connsiteX28" fmla="*/ 46931 w 607336"/>
                <a:gd name="connsiteY28" fmla="*/ 46861 h 541236"/>
                <a:gd name="connsiteX29" fmla="*/ 46931 w 607336"/>
                <a:gd name="connsiteY29" fmla="*/ 346766 h 541236"/>
                <a:gd name="connsiteX30" fmla="*/ 404898 w 607336"/>
                <a:gd name="connsiteY30" fmla="*/ 346766 h 541236"/>
                <a:gd name="connsiteX31" fmla="*/ 405837 w 607336"/>
                <a:gd name="connsiteY31" fmla="*/ 410730 h 541236"/>
                <a:gd name="connsiteX32" fmla="*/ 409005 w 607336"/>
                <a:gd name="connsiteY32" fmla="*/ 432638 h 541236"/>
                <a:gd name="connsiteX33" fmla="*/ 368175 w 607336"/>
                <a:gd name="connsiteY33" fmla="*/ 432638 h 541236"/>
                <a:gd name="connsiteX34" fmla="*/ 388120 w 607336"/>
                <a:gd name="connsiteY34" fmla="*/ 500585 h 541236"/>
                <a:gd name="connsiteX35" fmla="*/ 412407 w 607336"/>
                <a:gd name="connsiteY35" fmla="*/ 500585 h 541236"/>
                <a:gd name="connsiteX36" fmla="*/ 423553 w 607336"/>
                <a:gd name="connsiteY36" fmla="*/ 511714 h 541236"/>
                <a:gd name="connsiteX37" fmla="*/ 423553 w 607336"/>
                <a:gd name="connsiteY37" fmla="*/ 530107 h 541236"/>
                <a:gd name="connsiteX38" fmla="*/ 412407 w 607336"/>
                <a:gd name="connsiteY38" fmla="*/ 541236 h 541236"/>
                <a:gd name="connsiteX39" fmla="*/ 166371 w 607336"/>
                <a:gd name="connsiteY39" fmla="*/ 541236 h 541236"/>
                <a:gd name="connsiteX40" fmla="*/ 155225 w 607336"/>
                <a:gd name="connsiteY40" fmla="*/ 530107 h 541236"/>
                <a:gd name="connsiteX41" fmla="*/ 155225 w 607336"/>
                <a:gd name="connsiteY41" fmla="*/ 511714 h 541236"/>
                <a:gd name="connsiteX42" fmla="*/ 166371 w 607336"/>
                <a:gd name="connsiteY42" fmla="*/ 500585 h 541236"/>
                <a:gd name="connsiteX43" fmla="*/ 190658 w 607336"/>
                <a:gd name="connsiteY43" fmla="*/ 500585 h 541236"/>
                <a:gd name="connsiteX44" fmla="*/ 210721 w 607336"/>
                <a:gd name="connsiteY44" fmla="*/ 432638 h 541236"/>
                <a:gd name="connsiteX45" fmla="*/ 23466 w 607336"/>
                <a:gd name="connsiteY45" fmla="*/ 432638 h 541236"/>
                <a:gd name="connsiteX46" fmla="*/ 0 w 607336"/>
                <a:gd name="connsiteY46" fmla="*/ 409207 h 541236"/>
                <a:gd name="connsiteX47" fmla="*/ 0 w 607336"/>
                <a:gd name="connsiteY47" fmla="*/ 23430 h 541236"/>
                <a:gd name="connsiteX48" fmla="*/ 23466 w 607336"/>
                <a:gd name="connsiteY48" fmla="*/ 0 h 54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7336" h="541236">
                  <a:moveTo>
                    <a:pt x="514822" y="287718"/>
                  </a:moveTo>
                  <a:cubicBezTo>
                    <a:pt x="507429" y="287718"/>
                    <a:pt x="501327" y="293810"/>
                    <a:pt x="501327" y="301190"/>
                  </a:cubicBezTo>
                  <a:lnTo>
                    <a:pt x="501327" y="357185"/>
                  </a:lnTo>
                  <a:cubicBezTo>
                    <a:pt x="501327" y="364682"/>
                    <a:pt x="507429" y="370656"/>
                    <a:pt x="514822" y="370656"/>
                  </a:cubicBezTo>
                  <a:cubicBezTo>
                    <a:pt x="522215" y="370656"/>
                    <a:pt x="528317" y="364682"/>
                    <a:pt x="528317" y="357185"/>
                  </a:cubicBezTo>
                  <a:lnTo>
                    <a:pt x="528317" y="301190"/>
                  </a:lnTo>
                  <a:cubicBezTo>
                    <a:pt x="528317" y="293810"/>
                    <a:pt x="522215" y="287718"/>
                    <a:pt x="514822" y="287718"/>
                  </a:cubicBezTo>
                  <a:close/>
                  <a:moveTo>
                    <a:pt x="513884" y="257846"/>
                  </a:moveTo>
                  <a:cubicBezTo>
                    <a:pt x="521042" y="257846"/>
                    <a:pt x="524093" y="258315"/>
                    <a:pt x="524093" y="258315"/>
                  </a:cubicBezTo>
                  <a:cubicBezTo>
                    <a:pt x="546506" y="260423"/>
                    <a:pt x="569037" y="269795"/>
                    <a:pt x="591098" y="286664"/>
                  </a:cubicBezTo>
                  <a:cubicBezTo>
                    <a:pt x="593679" y="288655"/>
                    <a:pt x="595557" y="291467"/>
                    <a:pt x="596496" y="294630"/>
                  </a:cubicBezTo>
                  <a:cubicBezTo>
                    <a:pt x="606940" y="330710"/>
                    <a:pt x="609756" y="365268"/>
                    <a:pt x="605297" y="403457"/>
                  </a:cubicBezTo>
                  <a:cubicBezTo>
                    <a:pt x="601307" y="437312"/>
                    <a:pt x="592037" y="471166"/>
                    <a:pt x="581123" y="508770"/>
                  </a:cubicBezTo>
                  <a:cubicBezTo>
                    <a:pt x="580185" y="511933"/>
                    <a:pt x="578307" y="514744"/>
                    <a:pt x="575725" y="516736"/>
                  </a:cubicBezTo>
                  <a:cubicBezTo>
                    <a:pt x="559062" y="529622"/>
                    <a:pt x="537470" y="536650"/>
                    <a:pt x="514822" y="536650"/>
                  </a:cubicBezTo>
                  <a:cubicBezTo>
                    <a:pt x="492174" y="536650"/>
                    <a:pt x="470583" y="529622"/>
                    <a:pt x="453919" y="516736"/>
                  </a:cubicBezTo>
                  <a:cubicBezTo>
                    <a:pt x="451338" y="514744"/>
                    <a:pt x="449460" y="511933"/>
                    <a:pt x="448521" y="508770"/>
                  </a:cubicBezTo>
                  <a:cubicBezTo>
                    <a:pt x="437608" y="471166"/>
                    <a:pt x="428338" y="437312"/>
                    <a:pt x="424348" y="403457"/>
                  </a:cubicBezTo>
                  <a:cubicBezTo>
                    <a:pt x="420006" y="365268"/>
                    <a:pt x="422705" y="330710"/>
                    <a:pt x="433149" y="294630"/>
                  </a:cubicBezTo>
                  <a:cubicBezTo>
                    <a:pt x="434088" y="291467"/>
                    <a:pt x="435965" y="288655"/>
                    <a:pt x="438547" y="286664"/>
                  </a:cubicBezTo>
                  <a:cubicBezTo>
                    <a:pt x="459787" y="270381"/>
                    <a:pt x="481378" y="260892"/>
                    <a:pt x="502970" y="258315"/>
                  </a:cubicBezTo>
                  <a:cubicBezTo>
                    <a:pt x="502970" y="258315"/>
                    <a:pt x="506725" y="257846"/>
                    <a:pt x="513884" y="257846"/>
                  </a:cubicBezTo>
                  <a:close/>
                  <a:moveTo>
                    <a:pt x="23466" y="0"/>
                  </a:moveTo>
                  <a:lnTo>
                    <a:pt x="555312" y="0"/>
                  </a:lnTo>
                  <a:cubicBezTo>
                    <a:pt x="568336" y="0"/>
                    <a:pt x="578778" y="10544"/>
                    <a:pt x="578778" y="23430"/>
                  </a:cubicBezTo>
                  <a:lnTo>
                    <a:pt x="578778" y="253163"/>
                  </a:lnTo>
                  <a:cubicBezTo>
                    <a:pt x="563408" y="245548"/>
                    <a:pt x="547686" y="240979"/>
                    <a:pt x="531847" y="239339"/>
                  </a:cubicBezTo>
                  <a:lnTo>
                    <a:pt x="531847" y="46861"/>
                  </a:lnTo>
                  <a:lnTo>
                    <a:pt x="46931" y="46861"/>
                  </a:lnTo>
                  <a:lnTo>
                    <a:pt x="46931" y="346766"/>
                  </a:lnTo>
                  <a:lnTo>
                    <a:pt x="404898" y="346766"/>
                  </a:lnTo>
                  <a:cubicBezTo>
                    <a:pt x="402904" y="367502"/>
                    <a:pt x="403256" y="388589"/>
                    <a:pt x="405837" y="410730"/>
                  </a:cubicBezTo>
                  <a:cubicBezTo>
                    <a:pt x="406658" y="418111"/>
                    <a:pt x="407714" y="425374"/>
                    <a:pt x="409005" y="432638"/>
                  </a:cubicBezTo>
                  <a:lnTo>
                    <a:pt x="368175" y="432638"/>
                  </a:lnTo>
                  <a:lnTo>
                    <a:pt x="388120" y="500585"/>
                  </a:lnTo>
                  <a:lnTo>
                    <a:pt x="412407" y="500585"/>
                  </a:lnTo>
                  <a:cubicBezTo>
                    <a:pt x="418626" y="500585"/>
                    <a:pt x="423553" y="505622"/>
                    <a:pt x="423553" y="511714"/>
                  </a:cubicBezTo>
                  <a:lnTo>
                    <a:pt x="423553" y="530107"/>
                  </a:lnTo>
                  <a:cubicBezTo>
                    <a:pt x="423553" y="536199"/>
                    <a:pt x="418626" y="541236"/>
                    <a:pt x="412407" y="541236"/>
                  </a:cubicBezTo>
                  <a:lnTo>
                    <a:pt x="166371" y="541236"/>
                  </a:lnTo>
                  <a:cubicBezTo>
                    <a:pt x="160270" y="541236"/>
                    <a:pt x="155225" y="536199"/>
                    <a:pt x="155225" y="530107"/>
                  </a:cubicBezTo>
                  <a:lnTo>
                    <a:pt x="155225" y="511714"/>
                  </a:lnTo>
                  <a:cubicBezTo>
                    <a:pt x="155225" y="505622"/>
                    <a:pt x="160270" y="500585"/>
                    <a:pt x="166371" y="500585"/>
                  </a:cubicBezTo>
                  <a:lnTo>
                    <a:pt x="190658" y="500585"/>
                  </a:lnTo>
                  <a:lnTo>
                    <a:pt x="210721" y="432638"/>
                  </a:lnTo>
                  <a:lnTo>
                    <a:pt x="23466" y="432638"/>
                  </a:lnTo>
                  <a:cubicBezTo>
                    <a:pt x="10560" y="432638"/>
                    <a:pt x="0" y="422211"/>
                    <a:pt x="0" y="409207"/>
                  </a:cubicBezTo>
                  <a:lnTo>
                    <a:pt x="0" y="23430"/>
                  </a:lnTo>
                  <a:cubicBezTo>
                    <a:pt x="0" y="10544"/>
                    <a:pt x="10560" y="0"/>
                    <a:pt x="23466" y="0"/>
                  </a:cubicBez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 fontScale="925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7" name="ïSḻiḍé"/>
            <p:cNvSpPr txBox="1"/>
            <p:nvPr/>
          </p:nvSpPr>
          <p:spPr>
            <a:xfrm>
              <a:off x="4882719" y="1337039"/>
              <a:ext cx="6816746" cy="1702554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just">
                <a:lnSpc>
                  <a:spcPct val="130000"/>
                </a:lnSpc>
              </a:pPr>
              <a:r>
                <a:rPr lang="en-US" altLang="zh-CN" sz="2400" dirty="0" err="1">
                  <a:solidFill>
                    <a:srgbClr val="0000FF"/>
                  </a:solidFill>
                  <a:latin typeface="+mj-ea"/>
                  <a:ea typeface="+mj-ea"/>
                </a:rPr>
                <a:t>NStepSCAN</a:t>
              </a:r>
              <a:r>
                <a:rPr lang="zh-CN" altLang="en-US" sz="2400" dirty="0">
                  <a:solidFill>
                    <a:srgbClr val="0000FF"/>
                  </a:solidFill>
                  <a:latin typeface="+mj-ea"/>
                  <a:ea typeface="+mj-ea"/>
                </a:rPr>
                <a:t>算法：</a:t>
              </a:r>
            </a:p>
            <a:p>
              <a:pPr marL="342900" indent="-342900" algn="just">
                <a:lnSpc>
                  <a:spcPct val="130000"/>
                </a:lnSpc>
                <a:buClr>
                  <a:srgbClr val="0000FF"/>
                </a:buClr>
                <a:buFont typeface="Wingdings" panose="05000000000000000000" pitchFamily="2" charset="2"/>
                <a:buChar char="Ø"/>
              </a:pPr>
              <a:r>
                <a:rPr lang="zh-CN" altLang="en-US" sz="2200" dirty="0">
                  <a:solidFill>
                    <a:srgbClr val="FF0000"/>
                  </a:solidFill>
                  <a:latin typeface="+mn-ea"/>
                </a:rPr>
                <a:t>“磁臂粘着”现象</a:t>
              </a:r>
              <a:r>
                <a:rPr lang="zh-CN" altLang="en-US" sz="2200" dirty="0">
                  <a:latin typeface="+mn-ea"/>
                </a:rPr>
                <a:t>：进程反复请求对某一磁道的</a:t>
              </a:r>
              <a:r>
                <a:rPr lang="en-US" altLang="zh-CN" sz="2200" dirty="0">
                  <a:latin typeface="+mn-ea"/>
                </a:rPr>
                <a:t>I/O</a:t>
              </a:r>
              <a:r>
                <a:rPr lang="zh-CN" altLang="en-US" sz="2200" dirty="0">
                  <a:latin typeface="+mn-ea"/>
                </a:rPr>
                <a:t>操作；</a:t>
              </a:r>
            </a:p>
            <a:p>
              <a:pPr marL="342900" indent="-342900" algn="just">
                <a:lnSpc>
                  <a:spcPct val="130000"/>
                </a:lnSpc>
                <a:buClr>
                  <a:srgbClr val="0000FF"/>
                </a:buClr>
                <a:buFont typeface="Wingdings" panose="05000000000000000000" pitchFamily="2" charset="2"/>
                <a:buChar char="Ø"/>
              </a:pPr>
              <a:r>
                <a:rPr lang="zh-CN" altLang="en-US" sz="2200" dirty="0">
                  <a:latin typeface="+mn-ea"/>
                </a:rPr>
                <a:t>将磁盘请求队列分为若干个长度为</a:t>
              </a:r>
              <a:r>
                <a:rPr lang="en-US" altLang="zh-CN" sz="2200" dirty="0">
                  <a:latin typeface="+mn-ea"/>
                </a:rPr>
                <a:t>N</a:t>
              </a:r>
              <a:r>
                <a:rPr lang="zh-CN" altLang="en-US" sz="2200" dirty="0">
                  <a:latin typeface="+mn-ea"/>
                </a:rPr>
                <a:t>的子队列；</a:t>
              </a:r>
            </a:p>
            <a:p>
              <a:pPr marL="342900" indent="-342900" algn="just">
                <a:lnSpc>
                  <a:spcPct val="130000"/>
                </a:lnSpc>
                <a:buClr>
                  <a:srgbClr val="0000FF"/>
                </a:buClr>
                <a:buFont typeface="Wingdings" panose="05000000000000000000" pitchFamily="2" charset="2"/>
                <a:buChar char="Ø"/>
              </a:pPr>
              <a:r>
                <a:rPr lang="zh-CN" altLang="en-US" sz="2200" dirty="0">
                  <a:latin typeface="+mn-ea"/>
                </a:rPr>
                <a:t>按</a:t>
              </a:r>
              <a:r>
                <a:rPr lang="en-US" altLang="zh-CN" sz="2200" dirty="0">
                  <a:latin typeface="+mn-ea"/>
                </a:rPr>
                <a:t>FCFS</a:t>
              </a:r>
              <a:r>
                <a:rPr lang="zh-CN" altLang="en-US" sz="2200" dirty="0">
                  <a:latin typeface="+mn-ea"/>
                </a:rPr>
                <a:t>算法依次处理子队列；</a:t>
              </a:r>
            </a:p>
            <a:p>
              <a:pPr marL="342900" indent="-342900" algn="just">
                <a:lnSpc>
                  <a:spcPct val="130000"/>
                </a:lnSpc>
                <a:buClr>
                  <a:srgbClr val="0000FF"/>
                </a:buClr>
                <a:buFont typeface="Wingdings" panose="05000000000000000000" pitchFamily="2" charset="2"/>
                <a:buChar char="Ø"/>
              </a:pPr>
              <a:r>
                <a:rPr lang="zh-CN" altLang="en-US" sz="2200" dirty="0">
                  <a:latin typeface="+mn-ea"/>
                </a:rPr>
                <a:t>每个子队列使用</a:t>
              </a:r>
              <a:r>
                <a:rPr lang="en-US" altLang="zh-CN" sz="2200" dirty="0">
                  <a:latin typeface="+mn-ea"/>
                </a:rPr>
                <a:t>SCAN</a:t>
              </a:r>
              <a:r>
                <a:rPr lang="zh-CN" altLang="en-US" sz="2200" dirty="0">
                  <a:latin typeface="+mn-ea"/>
                </a:rPr>
                <a:t>算法。</a:t>
              </a:r>
            </a:p>
          </p:txBody>
        </p:sp>
      </p:grpSp>
      <p:grpSp>
        <p:nvGrpSpPr>
          <p:cNvPr id="8" name="išḷîḓé"/>
          <p:cNvGrpSpPr/>
          <p:nvPr/>
        </p:nvGrpSpPr>
        <p:grpSpPr>
          <a:xfrm>
            <a:off x="4183062" y="4019258"/>
            <a:ext cx="7722860" cy="2127542"/>
            <a:chOff x="4136995" y="3450237"/>
            <a:chExt cx="7722860" cy="2127542"/>
          </a:xfrm>
        </p:grpSpPr>
        <p:sp>
          <p:nvSpPr>
            <p:cNvPr id="9" name="íśľïḋé"/>
            <p:cNvSpPr/>
            <p:nvPr/>
          </p:nvSpPr>
          <p:spPr>
            <a:xfrm>
              <a:off x="4136995" y="3450237"/>
              <a:ext cx="408372" cy="363926"/>
            </a:xfrm>
            <a:custGeom>
              <a:avLst/>
              <a:gdLst>
                <a:gd name="connsiteX0" fmla="*/ 514822 w 607336"/>
                <a:gd name="connsiteY0" fmla="*/ 287718 h 541236"/>
                <a:gd name="connsiteX1" fmla="*/ 501327 w 607336"/>
                <a:gd name="connsiteY1" fmla="*/ 301190 h 541236"/>
                <a:gd name="connsiteX2" fmla="*/ 501327 w 607336"/>
                <a:gd name="connsiteY2" fmla="*/ 357185 h 541236"/>
                <a:gd name="connsiteX3" fmla="*/ 514822 w 607336"/>
                <a:gd name="connsiteY3" fmla="*/ 370656 h 541236"/>
                <a:gd name="connsiteX4" fmla="*/ 528317 w 607336"/>
                <a:gd name="connsiteY4" fmla="*/ 357185 h 541236"/>
                <a:gd name="connsiteX5" fmla="*/ 528317 w 607336"/>
                <a:gd name="connsiteY5" fmla="*/ 301190 h 541236"/>
                <a:gd name="connsiteX6" fmla="*/ 514822 w 607336"/>
                <a:gd name="connsiteY6" fmla="*/ 287718 h 541236"/>
                <a:gd name="connsiteX7" fmla="*/ 513884 w 607336"/>
                <a:gd name="connsiteY7" fmla="*/ 257846 h 541236"/>
                <a:gd name="connsiteX8" fmla="*/ 524093 w 607336"/>
                <a:gd name="connsiteY8" fmla="*/ 258315 h 541236"/>
                <a:gd name="connsiteX9" fmla="*/ 591098 w 607336"/>
                <a:gd name="connsiteY9" fmla="*/ 286664 h 541236"/>
                <a:gd name="connsiteX10" fmla="*/ 596496 w 607336"/>
                <a:gd name="connsiteY10" fmla="*/ 294630 h 541236"/>
                <a:gd name="connsiteX11" fmla="*/ 605297 w 607336"/>
                <a:gd name="connsiteY11" fmla="*/ 403457 h 541236"/>
                <a:gd name="connsiteX12" fmla="*/ 581123 w 607336"/>
                <a:gd name="connsiteY12" fmla="*/ 508770 h 541236"/>
                <a:gd name="connsiteX13" fmla="*/ 575725 w 607336"/>
                <a:gd name="connsiteY13" fmla="*/ 516736 h 541236"/>
                <a:gd name="connsiteX14" fmla="*/ 514822 w 607336"/>
                <a:gd name="connsiteY14" fmla="*/ 536650 h 541236"/>
                <a:gd name="connsiteX15" fmla="*/ 453919 w 607336"/>
                <a:gd name="connsiteY15" fmla="*/ 516736 h 541236"/>
                <a:gd name="connsiteX16" fmla="*/ 448521 w 607336"/>
                <a:gd name="connsiteY16" fmla="*/ 508770 h 541236"/>
                <a:gd name="connsiteX17" fmla="*/ 424348 w 607336"/>
                <a:gd name="connsiteY17" fmla="*/ 403457 h 541236"/>
                <a:gd name="connsiteX18" fmla="*/ 433149 w 607336"/>
                <a:gd name="connsiteY18" fmla="*/ 294630 h 541236"/>
                <a:gd name="connsiteX19" fmla="*/ 438547 w 607336"/>
                <a:gd name="connsiteY19" fmla="*/ 286664 h 541236"/>
                <a:gd name="connsiteX20" fmla="*/ 502970 w 607336"/>
                <a:gd name="connsiteY20" fmla="*/ 258315 h 541236"/>
                <a:gd name="connsiteX21" fmla="*/ 513884 w 607336"/>
                <a:gd name="connsiteY21" fmla="*/ 257846 h 541236"/>
                <a:gd name="connsiteX22" fmla="*/ 23466 w 607336"/>
                <a:gd name="connsiteY22" fmla="*/ 0 h 541236"/>
                <a:gd name="connsiteX23" fmla="*/ 555312 w 607336"/>
                <a:gd name="connsiteY23" fmla="*/ 0 h 541236"/>
                <a:gd name="connsiteX24" fmla="*/ 578778 w 607336"/>
                <a:gd name="connsiteY24" fmla="*/ 23430 h 541236"/>
                <a:gd name="connsiteX25" fmla="*/ 578778 w 607336"/>
                <a:gd name="connsiteY25" fmla="*/ 253163 h 541236"/>
                <a:gd name="connsiteX26" fmla="*/ 531847 w 607336"/>
                <a:gd name="connsiteY26" fmla="*/ 239339 h 541236"/>
                <a:gd name="connsiteX27" fmla="*/ 531847 w 607336"/>
                <a:gd name="connsiteY27" fmla="*/ 46861 h 541236"/>
                <a:gd name="connsiteX28" fmla="*/ 46931 w 607336"/>
                <a:gd name="connsiteY28" fmla="*/ 46861 h 541236"/>
                <a:gd name="connsiteX29" fmla="*/ 46931 w 607336"/>
                <a:gd name="connsiteY29" fmla="*/ 346766 h 541236"/>
                <a:gd name="connsiteX30" fmla="*/ 404898 w 607336"/>
                <a:gd name="connsiteY30" fmla="*/ 346766 h 541236"/>
                <a:gd name="connsiteX31" fmla="*/ 405837 w 607336"/>
                <a:gd name="connsiteY31" fmla="*/ 410730 h 541236"/>
                <a:gd name="connsiteX32" fmla="*/ 409005 w 607336"/>
                <a:gd name="connsiteY32" fmla="*/ 432638 h 541236"/>
                <a:gd name="connsiteX33" fmla="*/ 368175 w 607336"/>
                <a:gd name="connsiteY33" fmla="*/ 432638 h 541236"/>
                <a:gd name="connsiteX34" fmla="*/ 388120 w 607336"/>
                <a:gd name="connsiteY34" fmla="*/ 500585 h 541236"/>
                <a:gd name="connsiteX35" fmla="*/ 412407 w 607336"/>
                <a:gd name="connsiteY35" fmla="*/ 500585 h 541236"/>
                <a:gd name="connsiteX36" fmla="*/ 423553 w 607336"/>
                <a:gd name="connsiteY36" fmla="*/ 511714 h 541236"/>
                <a:gd name="connsiteX37" fmla="*/ 423553 w 607336"/>
                <a:gd name="connsiteY37" fmla="*/ 530107 h 541236"/>
                <a:gd name="connsiteX38" fmla="*/ 412407 w 607336"/>
                <a:gd name="connsiteY38" fmla="*/ 541236 h 541236"/>
                <a:gd name="connsiteX39" fmla="*/ 166371 w 607336"/>
                <a:gd name="connsiteY39" fmla="*/ 541236 h 541236"/>
                <a:gd name="connsiteX40" fmla="*/ 155225 w 607336"/>
                <a:gd name="connsiteY40" fmla="*/ 530107 h 541236"/>
                <a:gd name="connsiteX41" fmla="*/ 155225 w 607336"/>
                <a:gd name="connsiteY41" fmla="*/ 511714 h 541236"/>
                <a:gd name="connsiteX42" fmla="*/ 166371 w 607336"/>
                <a:gd name="connsiteY42" fmla="*/ 500585 h 541236"/>
                <a:gd name="connsiteX43" fmla="*/ 190658 w 607336"/>
                <a:gd name="connsiteY43" fmla="*/ 500585 h 541236"/>
                <a:gd name="connsiteX44" fmla="*/ 210721 w 607336"/>
                <a:gd name="connsiteY44" fmla="*/ 432638 h 541236"/>
                <a:gd name="connsiteX45" fmla="*/ 23466 w 607336"/>
                <a:gd name="connsiteY45" fmla="*/ 432638 h 541236"/>
                <a:gd name="connsiteX46" fmla="*/ 0 w 607336"/>
                <a:gd name="connsiteY46" fmla="*/ 409207 h 541236"/>
                <a:gd name="connsiteX47" fmla="*/ 0 w 607336"/>
                <a:gd name="connsiteY47" fmla="*/ 23430 h 541236"/>
                <a:gd name="connsiteX48" fmla="*/ 23466 w 607336"/>
                <a:gd name="connsiteY48" fmla="*/ 0 h 54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7336" h="541236">
                  <a:moveTo>
                    <a:pt x="514822" y="287718"/>
                  </a:moveTo>
                  <a:cubicBezTo>
                    <a:pt x="507429" y="287718"/>
                    <a:pt x="501327" y="293810"/>
                    <a:pt x="501327" y="301190"/>
                  </a:cubicBezTo>
                  <a:lnTo>
                    <a:pt x="501327" y="357185"/>
                  </a:lnTo>
                  <a:cubicBezTo>
                    <a:pt x="501327" y="364682"/>
                    <a:pt x="507429" y="370656"/>
                    <a:pt x="514822" y="370656"/>
                  </a:cubicBezTo>
                  <a:cubicBezTo>
                    <a:pt x="522215" y="370656"/>
                    <a:pt x="528317" y="364682"/>
                    <a:pt x="528317" y="357185"/>
                  </a:cubicBezTo>
                  <a:lnTo>
                    <a:pt x="528317" y="301190"/>
                  </a:lnTo>
                  <a:cubicBezTo>
                    <a:pt x="528317" y="293810"/>
                    <a:pt x="522215" y="287718"/>
                    <a:pt x="514822" y="287718"/>
                  </a:cubicBezTo>
                  <a:close/>
                  <a:moveTo>
                    <a:pt x="513884" y="257846"/>
                  </a:moveTo>
                  <a:cubicBezTo>
                    <a:pt x="521042" y="257846"/>
                    <a:pt x="524093" y="258315"/>
                    <a:pt x="524093" y="258315"/>
                  </a:cubicBezTo>
                  <a:cubicBezTo>
                    <a:pt x="546506" y="260423"/>
                    <a:pt x="569037" y="269795"/>
                    <a:pt x="591098" y="286664"/>
                  </a:cubicBezTo>
                  <a:cubicBezTo>
                    <a:pt x="593679" y="288655"/>
                    <a:pt x="595557" y="291467"/>
                    <a:pt x="596496" y="294630"/>
                  </a:cubicBezTo>
                  <a:cubicBezTo>
                    <a:pt x="606940" y="330710"/>
                    <a:pt x="609756" y="365268"/>
                    <a:pt x="605297" y="403457"/>
                  </a:cubicBezTo>
                  <a:cubicBezTo>
                    <a:pt x="601307" y="437312"/>
                    <a:pt x="592037" y="471166"/>
                    <a:pt x="581123" y="508770"/>
                  </a:cubicBezTo>
                  <a:cubicBezTo>
                    <a:pt x="580185" y="511933"/>
                    <a:pt x="578307" y="514744"/>
                    <a:pt x="575725" y="516736"/>
                  </a:cubicBezTo>
                  <a:cubicBezTo>
                    <a:pt x="559062" y="529622"/>
                    <a:pt x="537470" y="536650"/>
                    <a:pt x="514822" y="536650"/>
                  </a:cubicBezTo>
                  <a:cubicBezTo>
                    <a:pt x="492174" y="536650"/>
                    <a:pt x="470583" y="529622"/>
                    <a:pt x="453919" y="516736"/>
                  </a:cubicBezTo>
                  <a:cubicBezTo>
                    <a:pt x="451338" y="514744"/>
                    <a:pt x="449460" y="511933"/>
                    <a:pt x="448521" y="508770"/>
                  </a:cubicBezTo>
                  <a:cubicBezTo>
                    <a:pt x="437608" y="471166"/>
                    <a:pt x="428338" y="437312"/>
                    <a:pt x="424348" y="403457"/>
                  </a:cubicBezTo>
                  <a:cubicBezTo>
                    <a:pt x="420006" y="365268"/>
                    <a:pt x="422705" y="330710"/>
                    <a:pt x="433149" y="294630"/>
                  </a:cubicBezTo>
                  <a:cubicBezTo>
                    <a:pt x="434088" y="291467"/>
                    <a:pt x="435965" y="288655"/>
                    <a:pt x="438547" y="286664"/>
                  </a:cubicBezTo>
                  <a:cubicBezTo>
                    <a:pt x="459787" y="270381"/>
                    <a:pt x="481378" y="260892"/>
                    <a:pt x="502970" y="258315"/>
                  </a:cubicBezTo>
                  <a:cubicBezTo>
                    <a:pt x="502970" y="258315"/>
                    <a:pt x="506725" y="257846"/>
                    <a:pt x="513884" y="257846"/>
                  </a:cubicBezTo>
                  <a:close/>
                  <a:moveTo>
                    <a:pt x="23466" y="0"/>
                  </a:moveTo>
                  <a:lnTo>
                    <a:pt x="555312" y="0"/>
                  </a:lnTo>
                  <a:cubicBezTo>
                    <a:pt x="568336" y="0"/>
                    <a:pt x="578778" y="10544"/>
                    <a:pt x="578778" y="23430"/>
                  </a:cubicBezTo>
                  <a:lnTo>
                    <a:pt x="578778" y="253163"/>
                  </a:lnTo>
                  <a:cubicBezTo>
                    <a:pt x="563408" y="245548"/>
                    <a:pt x="547686" y="240979"/>
                    <a:pt x="531847" y="239339"/>
                  </a:cubicBezTo>
                  <a:lnTo>
                    <a:pt x="531847" y="46861"/>
                  </a:lnTo>
                  <a:lnTo>
                    <a:pt x="46931" y="46861"/>
                  </a:lnTo>
                  <a:lnTo>
                    <a:pt x="46931" y="346766"/>
                  </a:lnTo>
                  <a:lnTo>
                    <a:pt x="404898" y="346766"/>
                  </a:lnTo>
                  <a:cubicBezTo>
                    <a:pt x="402904" y="367502"/>
                    <a:pt x="403256" y="388589"/>
                    <a:pt x="405837" y="410730"/>
                  </a:cubicBezTo>
                  <a:cubicBezTo>
                    <a:pt x="406658" y="418111"/>
                    <a:pt x="407714" y="425374"/>
                    <a:pt x="409005" y="432638"/>
                  </a:cubicBezTo>
                  <a:lnTo>
                    <a:pt x="368175" y="432638"/>
                  </a:lnTo>
                  <a:lnTo>
                    <a:pt x="388120" y="500585"/>
                  </a:lnTo>
                  <a:lnTo>
                    <a:pt x="412407" y="500585"/>
                  </a:lnTo>
                  <a:cubicBezTo>
                    <a:pt x="418626" y="500585"/>
                    <a:pt x="423553" y="505622"/>
                    <a:pt x="423553" y="511714"/>
                  </a:cubicBezTo>
                  <a:lnTo>
                    <a:pt x="423553" y="530107"/>
                  </a:lnTo>
                  <a:cubicBezTo>
                    <a:pt x="423553" y="536199"/>
                    <a:pt x="418626" y="541236"/>
                    <a:pt x="412407" y="541236"/>
                  </a:cubicBezTo>
                  <a:lnTo>
                    <a:pt x="166371" y="541236"/>
                  </a:lnTo>
                  <a:cubicBezTo>
                    <a:pt x="160270" y="541236"/>
                    <a:pt x="155225" y="536199"/>
                    <a:pt x="155225" y="530107"/>
                  </a:cubicBezTo>
                  <a:lnTo>
                    <a:pt x="155225" y="511714"/>
                  </a:lnTo>
                  <a:cubicBezTo>
                    <a:pt x="155225" y="505622"/>
                    <a:pt x="160270" y="500585"/>
                    <a:pt x="166371" y="500585"/>
                  </a:cubicBezTo>
                  <a:lnTo>
                    <a:pt x="190658" y="500585"/>
                  </a:lnTo>
                  <a:lnTo>
                    <a:pt x="210721" y="432638"/>
                  </a:lnTo>
                  <a:lnTo>
                    <a:pt x="23466" y="432638"/>
                  </a:lnTo>
                  <a:cubicBezTo>
                    <a:pt x="10560" y="432638"/>
                    <a:pt x="0" y="422211"/>
                    <a:pt x="0" y="409207"/>
                  </a:cubicBezTo>
                  <a:lnTo>
                    <a:pt x="0" y="23430"/>
                  </a:lnTo>
                  <a:cubicBezTo>
                    <a:pt x="0" y="10544"/>
                    <a:pt x="10560" y="0"/>
                    <a:pt x="23466" y="0"/>
                  </a:cubicBez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 fontScale="925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10" name="îŝľîḓè"/>
            <p:cNvSpPr txBox="1"/>
            <p:nvPr/>
          </p:nvSpPr>
          <p:spPr>
            <a:xfrm>
              <a:off x="4882719" y="3814163"/>
              <a:ext cx="6977136" cy="1763616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en-US" altLang="zh-CN" sz="2400" b="1" dirty="0">
                  <a:solidFill>
                    <a:srgbClr val="0000FF"/>
                  </a:solidFill>
                </a:rPr>
                <a:t>FSCAN</a:t>
              </a:r>
              <a:r>
                <a:rPr lang="zh-CN" altLang="en-US" sz="2400" b="1" dirty="0">
                  <a:solidFill>
                    <a:srgbClr val="0000FF"/>
                  </a:solidFill>
                </a:rPr>
                <a:t>算法：</a:t>
              </a:r>
            </a:p>
            <a:p>
              <a:pPr marL="342900" indent="-342900">
                <a:lnSpc>
                  <a:spcPct val="130000"/>
                </a:lnSpc>
                <a:buClr>
                  <a:srgbClr val="0000FF"/>
                </a:buClr>
                <a:buFont typeface="Wingdings" panose="05000000000000000000" pitchFamily="2" charset="2"/>
                <a:buChar char="Ø"/>
              </a:pPr>
              <a:r>
                <a:rPr lang="zh-CN" altLang="en-US" sz="2200" dirty="0">
                  <a:latin typeface="+mn-ea"/>
                </a:rPr>
                <a:t>是</a:t>
              </a:r>
              <a:r>
                <a:rPr lang="en-US" altLang="zh-CN" sz="2200" dirty="0">
                  <a:latin typeface="+mn-ea"/>
                </a:rPr>
                <a:t>N</a:t>
              </a:r>
              <a:r>
                <a:rPr lang="zh-CN" altLang="en-US" sz="2200" dirty="0">
                  <a:latin typeface="+mn-ea"/>
                </a:rPr>
                <a:t>步</a:t>
              </a:r>
              <a:r>
                <a:rPr lang="en-US" altLang="zh-CN" sz="2200" dirty="0">
                  <a:latin typeface="+mn-ea"/>
                </a:rPr>
                <a:t>SCAN</a:t>
              </a:r>
              <a:r>
                <a:rPr lang="zh-CN" altLang="en-US" sz="2200" dirty="0">
                  <a:latin typeface="+mn-ea"/>
                </a:rPr>
                <a:t>算法的简化；</a:t>
              </a:r>
            </a:p>
            <a:p>
              <a:pPr marL="342900" indent="-342900">
                <a:lnSpc>
                  <a:spcPct val="130000"/>
                </a:lnSpc>
                <a:buClr>
                  <a:srgbClr val="0000FF"/>
                </a:buClr>
                <a:buFont typeface="Wingdings" panose="05000000000000000000" pitchFamily="2" charset="2"/>
                <a:buChar char="Ø"/>
              </a:pPr>
              <a:r>
                <a:rPr lang="zh-CN" altLang="en-US" sz="2200" dirty="0">
                  <a:latin typeface="+mn-ea"/>
                </a:rPr>
                <a:t>请求队列分为两个子队列：</a:t>
              </a:r>
            </a:p>
            <a:p>
              <a:pPr marL="800100" lvl="1" indent="-342900">
                <a:lnSpc>
                  <a:spcPct val="130000"/>
                </a:lnSpc>
                <a:buClr>
                  <a:srgbClr val="FF0000"/>
                </a:buClr>
                <a:buFont typeface="Wingdings" panose="05000000000000000000" pitchFamily="2" charset="2"/>
                <a:buChar char="l"/>
              </a:pPr>
              <a:r>
                <a:rPr lang="zh-CN" altLang="en-US" sz="2000" dirty="0">
                  <a:latin typeface="+mn-ea"/>
                </a:rPr>
                <a:t>一是当前所有请求队列，按</a:t>
              </a:r>
              <a:r>
                <a:rPr lang="en-US" altLang="zh-CN" sz="2000" dirty="0">
                  <a:latin typeface="+mn-ea"/>
                </a:rPr>
                <a:t>SCAN</a:t>
              </a:r>
              <a:r>
                <a:rPr lang="zh-CN" altLang="en-US" sz="2000" dirty="0">
                  <a:latin typeface="+mn-ea"/>
                </a:rPr>
                <a:t>算法调度；</a:t>
              </a:r>
            </a:p>
            <a:p>
              <a:pPr marL="800100" lvl="1" indent="-342900">
                <a:lnSpc>
                  <a:spcPct val="130000"/>
                </a:lnSpc>
                <a:buClr>
                  <a:srgbClr val="FF0000"/>
                </a:buClr>
                <a:buFont typeface="Wingdings" panose="05000000000000000000" pitchFamily="2" charset="2"/>
                <a:buChar char="l"/>
              </a:pPr>
              <a:r>
                <a:rPr lang="zh-CN" altLang="en-US" sz="2000" dirty="0">
                  <a:latin typeface="+mn-ea"/>
                </a:rPr>
                <a:t>二是扫描期间，新出现的请求队列，推迟到下一次扫描时处理。</a:t>
              </a:r>
            </a:p>
          </p:txBody>
        </p:sp>
      </p:grp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9.1.1</a:t>
            </a:r>
            <a:r>
              <a:rPr lang="zh-CN" altLang="en-US" sz="2800" b="1" dirty="0">
                <a:solidFill>
                  <a:schemeClr val="bg1"/>
                </a:solidFill>
              </a:rPr>
              <a:t>连续组织方式</a:t>
            </a:r>
          </a:p>
        </p:txBody>
      </p:sp>
      <p:sp>
        <p:nvSpPr>
          <p:cNvPr id="14" name="文本框 13"/>
          <p:cNvSpPr txBox="1"/>
          <p:nvPr/>
        </p:nvSpPr>
        <p:spPr>
          <a:xfrm>
            <a:off x="822257" y="1274802"/>
            <a:ext cx="7200554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500" dirty="0"/>
              <a:t>为每个文件分配一组相邻接（连续）的磁盘块</a:t>
            </a:r>
          </a:p>
        </p:txBody>
      </p:sp>
      <p:sp>
        <p:nvSpPr>
          <p:cNvPr id="15" name="矩形: 圆角 14"/>
          <p:cNvSpPr/>
          <p:nvPr/>
        </p:nvSpPr>
        <p:spPr>
          <a:xfrm>
            <a:off x="861681" y="2093238"/>
            <a:ext cx="3843483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zh-CN" altLang="en-US" sz="2400" dirty="0"/>
              <a:t>优点：</a:t>
            </a:r>
          </a:p>
        </p:txBody>
      </p:sp>
      <p:sp>
        <p:nvSpPr>
          <p:cNvPr id="17" name="矩形: 圆角 16"/>
          <p:cNvSpPr/>
          <p:nvPr/>
        </p:nvSpPr>
        <p:spPr>
          <a:xfrm>
            <a:off x="6021745" y="2093238"/>
            <a:ext cx="5024207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zh-CN" altLang="en-US" sz="2400" dirty="0"/>
              <a:t>缺点：</a:t>
            </a:r>
          </a:p>
        </p:txBody>
      </p:sp>
      <p:sp>
        <p:nvSpPr>
          <p:cNvPr id="18" name="内容占位符 2"/>
          <p:cNvSpPr txBox="1"/>
          <p:nvPr/>
        </p:nvSpPr>
        <p:spPr>
          <a:xfrm>
            <a:off x="6021745" y="2815822"/>
            <a:ext cx="5024207" cy="3228362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265" lvl="1" indent="-5334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/>
              <a:t>要求分配连续的存储空间，会产生许多外碎片，因此外存空间利用率低</a:t>
            </a:r>
          </a:p>
          <a:p>
            <a:pPr marL="342265" lvl="1" indent="-5334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/>
              <a:t>必须事先知道文件的长度</a:t>
            </a:r>
          </a:p>
          <a:p>
            <a:pPr marL="342265" lvl="1" indent="-5334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/>
              <a:t>不能灵活地删除和插入记录</a:t>
            </a:r>
          </a:p>
          <a:p>
            <a:pPr marL="342265" lvl="1" indent="-5334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/>
              <a:t>文件不能动态增长</a:t>
            </a:r>
          </a:p>
        </p:txBody>
      </p:sp>
      <p:sp>
        <p:nvSpPr>
          <p:cNvPr id="22" name="内容占位符 2"/>
          <p:cNvSpPr txBox="1"/>
          <p:nvPr/>
        </p:nvSpPr>
        <p:spPr>
          <a:xfrm>
            <a:off x="822257" y="2815822"/>
            <a:ext cx="4140360" cy="2861955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265" lvl="1" indent="-5334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/>
              <a:t>顺序访问容易 － 仅需要起始块号和长度</a:t>
            </a:r>
          </a:p>
          <a:p>
            <a:pPr marL="342265" lvl="1" indent="-5334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/>
              <a:t>顺序访问速度快：是几种外存组织方式中最快的一种</a:t>
            </a:r>
          </a:p>
          <a:p>
            <a:pPr marL="342265" lvl="1" indent="-5334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/>
              <a:t>支持随机访问</a:t>
            </a:r>
          </a:p>
        </p:txBody>
      </p:sp>
    </p:spTree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>
            <a:extLst>
              <a:ext uri="{FF2B5EF4-FFF2-40B4-BE49-F238E27FC236}">
                <a16:creationId xmlns:a16="http://schemas.microsoft.com/office/drawing/2014/main" id="{8D060F02-E80C-799A-6AD8-983A322E5D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课后练习：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BBDBA996-C5F8-0B19-11DF-887E58B0961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r>
              <a:rPr lang="en-US" altLang="zh-CN" dirty="0"/>
              <a:t>1.</a:t>
            </a:r>
            <a:r>
              <a:rPr lang="zh-CN" altLang="en-US" dirty="0"/>
              <a:t>假设一个磁盘驱动器有</a:t>
            </a:r>
            <a:r>
              <a:rPr lang="en-US" altLang="zh-CN" dirty="0"/>
              <a:t>5000</a:t>
            </a:r>
            <a:r>
              <a:rPr lang="zh-CN" altLang="en-US" dirty="0"/>
              <a:t>个柱面，从</a:t>
            </a:r>
            <a:r>
              <a:rPr lang="en-US" altLang="zh-CN" dirty="0"/>
              <a:t>0</a:t>
            </a:r>
            <a:r>
              <a:rPr lang="zh-CN" altLang="en-US" dirty="0"/>
              <a:t>到</a:t>
            </a:r>
            <a:r>
              <a:rPr lang="en-US" altLang="zh-CN" dirty="0"/>
              <a:t>4999</a:t>
            </a:r>
            <a:r>
              <a:rPr lang="zh-CN" altLang="en-US" dirty="0"/>
              <a:t>。该驱动器目前正在处理请求柱面</a:t>
            </a:r>
            <a:r>
              <a:rPr lang="en-US" altLang="zh-CN" dirty="0"/>
              <a:t>2150</a:t>
            </a:r>
            <a:r>
              <a:rPr lang="zh-CN" altLang="en-US" dirty="0"/>
              <a:t>，以前请求为柱面</a:t>
            </a:r>
            <a:r>
              <a:rPr lang="en-US" altLang="zh-CN" dirty="0"/>
              <a:t>1805</a:t>
            </a:r>
            <a:r>
              <a:rPr lang="zh-CN" altLang="en-US" dirty="0"/>
              <a:t>。按</a:t>
            </a:r>
            <a:r>
              <a:rPr lang="en-US" altLang="zh-CN" dirty="0"/>
              <a:t>FIFO</a:t>
            </a:r>
            <a:r>
              <a:rPr lang="zh-CN" altLang="en-US" dirty="0"/>
              <a:t>顺序的等待请求队列是：</a:t>
            </a:r>
            <a:endParaRPr lang="en-US" altLang="zh-CN" dirty="0"/>
          </a:p>
          <a:p>
            <a:pPr lvl="1"/>
            <a:r>
              <a:rPr lang="en-US" altLang="zh-CN" dirty="0"/>
              <a:t>2069</a:t>
            </a:r>
            <a:r>
              <a:rPr lang="zh-CN" altLang="en-US" dirty="0"/>
              <a:t>，</a:t>
            </a:r>
            <a:r>
              <a:rPr lang="en-US" altLang="zh-CN" dirty="0"/>
              <a:t>1212</a:t>
            </a:r>
            <a:r>
              <a:rPr lang="zh-CN" altLang="en-US" dirty="0"/>
              <a:t>，</a:t>
            </a:r>
            <a:r>
              <a:rPr lang="en-US" altLang="zh-CN" dirty="0"/>
              <a:t>2296</a:t>
            </a:r>
            <a:r>
              <a:rPr lang="zh-CN" altLang="en-US" dirty="0"/>
              <a:t>，</a:t>
            </a:r>
            <a:r>
              <a:rPr lang="en-US" altLang="zh-CN" dirty="0"/>
              <a:t>2800</a:t>
            </a:r>
            <a:r>
              <a:rPr lang="zh-CN" altLang="en-US" dirty="0"/>
              <a:t>，</a:t>
            </a:r>
            <a:r>
              <a:rPr lang="en-US" altLang="zh-CN" dirty="0"/>
              <a:t>544</a:t>
            </a:r>
            <a:r>
              <a:rPr lang="zh-CN" altLang="en-US" dirty="0"/>
              <a:t>，</a:t>
            </a:r>
            <a:r>
              <a:rPr lang="en-US" altLang="zh-CN" dirty="0"/>
              <a:t>1618</a:t>
            </a:r>
            <a:r>
              <a:rPr lang="zh-CN" altLang="en-US" dirty="0"/>
              <a:t>，</a:t>
            </a:r>
            <a:r>
              <a:rPr lang="en-US" altLang="zh-CN" dirty="0"/>
              <a:t>356</a:t>
            </a:r>
            <a:r>
              <a:rPr lang="zh-CN" altLang="en-US" dirty="0"/>
              <a:t>，</a:t>
            </a:r>
            <a:r>
              <a:rPr lang="en-US" altLang="zh-CN" dirty="0"/>
              <a:t>1523</a:t>
            </a:r>
            <a:r>
              <a:rPr lang="zh-CN" altLang="en-US" dirty="0"/>
              <a:t>，</a:t>
            </a:r>
            <a:r>
              <a:rPr lang="en-US" altLang="zh-CN" dirty="0"/>
              <a:t>4965</a:t>
            </a:r>
            <a:r>
              <a:rPr lang="zh-CN" altLang="en-US" dirty="0"/>
              <a:t>，</a:t>
            </a:r>
            <a:r>
              <a:rPr lang="en-US" altLang="zh-CN" dirty="0"/>
              <a:t>3681</a:t>
            </a:r>
          </a:p>
          <a:p>
            <a:pPr marL="0" indent="0">
              <a:buNone/>
            </a:pPr>
            <a:r>
              <a:rPr lang="zh-CN" altLang="en-US" dirty="0"/>
              <a:t>从当前磁头位置开始，针对以下每个磁盘调度算法，磁臂移动以满足所有等待请求的总的移动距离是多少？</a:t>
            </a:r>
            <a:endParaRPr lang="en-US" altLang="zh-CN" dirty="0"/>
          </a:p>
          <a:p>
            <a:pPr lvl="1">
              <a:buFont typeface="Wingdings" panose="05000000000000000000" pitchFamily="2" charset="2"/>
              <a:buChar char="l"/>
            </a:pPr>
            <a:r>
              <a:rPr lang="en-US" altLang="zh-CN" dirty="0"/>
              <a:t>(1)FCFS</a:t>
            </a:r>
          </a:p>
          <a:p>
            <a:pPr lvl="1">
              <a:buFont typeface="Wingdings" panose="05000000000000000000" pitchFamily="2" charset="2"/>
              <a:buChar char="l"/>
            </a:pPr>
            <a:r>
              <a:rPr lang="en-US" altLang="zh-CN" dirty="0"/>
              <a:t>(2)SSTF</a:t>
            </a:r>
          </a:p>
          <a:p>
            <a:pPr lvl="1">
              <a:buFont typeface="Wingdings" panose="05000000000000000000" pitchFamily="2" charset="2"/>
              <a:buChar char="l"/>
            </a:pPr>
            <a:r>
              <a:rPr lang="en-US" altLang="zh-CN" dirty="0"/>
              <a:t>(3)SCAN</a:t>
            </a:r>
          </a:p>
          <a:p>
            <a:pPr lvl="1">
              <a:buFont typeface="Wingdings" panose="05000000000000000000" pitchFamily="2" charset="2"/>
              <a:buChar char="l"/>
            </a:pPr>
            <a:r>
              <a:rPr lang="en-US" altLang="zh-CN" dirty="0"/>
              <a:t>(4)LOOK</a:t>
            </a:r>
          </a:p>
          <a:p>
            <a:pPr lvl="1">
              <a:buFont typeface="Wingdings" panose="05000000000000000000" pitchFamily="2" charset="2"/>
              <a:buChar char="l"/>
            </a:pPr>
            <a:r>
              <a:rPr lang="en-US" altLang="zh-CN" dirty="0"/>
              <a:t>(5)C-SCAN</a:t>
            </a:r>
          </a:p>
          <a:p>
            <a:pPr lvl="1">
              <a:buFont typeface="Wingdings" panose="05000000000000000000" pitchFamily="2" charset="2"/>
              <a:buChar char="l"/>
            </a:pPr>
            <a:r>
              <a:rPr lang="en-US" altLang="zh-CN" dirty="0"/>
              <a:t>(6)C-LOOK	</a:t>
            </a:r>
          </a:p>
          <a:p>
            <a:pPr marL="0" indent="0">
              <a:buNone/>
            </a:pPr>
            <a:r>
              <a:rPr lang="en-US" altLang="zh-CN" dirty="0"/>
              <a:t>	</a:t>
            </a:r>
          </a:p>
        </p:txBody>
      </p:sp>
      <p:sp>
        <p:nvSpPr>
          <p:cNvPr id="2" name="日期占位符 1">
            <a:extLst>
              <a:ext uri="{FF2B5EF4-FFF2-40B4-BE49-F238E27FC236}">
                <a16:creationId xmlns:a16="http://schemas.microsoft.com/office/drawing/2014/main" id="{F8DB5764-D459-B8E0-688C-230CDD6644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861954-57FB-4D39-A8AD-8A7DBCD2909A}" type="datetime1">
              <a:rPr lang="zh-CN" altLang="en-US" smtClean="0"/>
              <a:t>2025/5/5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154D70C1-6A83-4339-1173-96821388AB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第</a:t>
            </a:r>
            <a:r>
              <a:rPr lang="en-US" altLang="zh-CN"/>
              <a:t>9</a:t>
            </a:r>
            <a:r>
              <a:rPr lang="zh-CN" altLang="en-US"/>
              <a:t>章 磁盘存储器管理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D57A315-8EC8-3C2B-DA35-02AA752086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  <a:pPr/>
              <a:t>5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625012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连续组织方式示例</a:t>
            </a:r>
          </a:p>
        </p:txBody>
      </p:sp>
      <p:pic>
        <p:nvPicPr>
          <p:cNvPr id="14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96" t="580" r="12967" b="887"/>
          <a:stretch>
            <a:fillRect/>
          </a:stretch>
        </p:blipFill>
        <p:spPr bwMode="auto">
          <a:xfrm>
            <a:off x="3185656" y="1117334"/>
            <a:ext cx="5070577" cy="5073921"/>
          </a:xfrm>
          <a:prstGeom prst="rect">
            <a:avLst/>
          </a:prstGeom>
          <a:noFill/>
          <a:ln w="38100" cmpd="dbl">
            <a:solidFill>
              <a:srgbClr val="CC66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9.1.2 </a:t>
            </a:r>
            <a:r>
              <a:rPr lang="zh-CN" altLang="en-US" sz="2800" b="1" dirty="0">
                <a:solidFill>
                  <a:schemeClr val="bg1"/>
                </a:solidFill>
              </a:rPr>
              <a:t>链接组织方式</a:t>
            </a:r>
          </a:p>
        </p:txBody>
      </p:sp>
      <p:sp>
        <p:nvSpPr>
          <p:cNvPr id="14" name="文本框 13"/>
          <p:cNvSpPr txBox="1"/>
          <p:nvPr/>
        </p:nvSpPr>
        <p:spPr>
          <a:xfrm>
            <a:off x="822256" y="1274802"/>
            <a:ext cx="10416873" cy="996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3000"/>
              </a:lnSpc>
            </a:pPr>
            <a:r>
              <a:rPr lang="zh-CN" altLang="en-US" sz="2500" dirty="0"/>
              <a:t>为文件分配不连续的盘块，通过链接指针将一个文件的所有盘块链接在一起，所形成的物理文件称为</a:t>
            </a:r>
            <a:r>
              <a:rPr lang="zh-CN" altLang="en-US" sz="2500" u="sng" dirty="0">
                <a:solidFill>
                  <a:srgbClr val="0000FF"/>
                </a:solidFill>
              </a:rPr>
              <a:t>链接文件</a:t>
            </a:r>
          </a:p>
        </p:txBody>
      </p:sp>
      <p:sp>
        <p:nvSpPr>
          <p:cNvPr id="15" name="矩形: 圆角 14"/>
          <p:cNvSpPr/>
          <p:nvPr/>
        </p:nvSpPr>
        <p:spPr>
          <a:xfrm>
            <a:off x="861680" y="2608142"/>
            <a:ext cx="3843483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zh-CN" altLang="en-US" sz="2400" dirty="0"/>
              <a:t>优点：</a:t>
            </a:r>
          </a:p>
        </p:txBody>
      </p:sp>
      <p:sp>
        <p:nvSpPr>
          <p:cNvPr id="16" name="矩形: 圆角 15"/>
          <p:cNvSpPr/>
          <p:nvPr/>
        </p:nvSpPr>
        <p:spPr>
          <a:xfrm>
            <a:off x="6021744" y="2608142"/>
            <a:ext cx="5024207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zh-CN" altLang="en-US" sz="2400" dirty="0"/>
              <a:t>链接方式</a:t>
            </a:r>
          </a:p>
        </p:txBody>
      </p:sp>
      <p:sp>
        <p:nvSpPr>
          <p:cNvPr id="17" name="内容占位符 2"/>
          <p:cNvSpPr txBox="1"/>
          <p:nvPr/>
        </p:nvSpPr>
        <p:spPr>
          <a:xfrm>
            <a:off x="6021744" y="3330726"/>
            <a:ext cx="5024207" cy="235986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265" lvl="1" indent="-5334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/>
              <a:t>隐式链接：指针存放在每个</a:t>
            </a:r>
            <a:r>
              <a:rPr lang="zh-CN" altLang="en-US" sz="2400" dirty="0">
                <a:solidFill>
                  <a:srgbClr val="FF0000"/>
                </a:solidFill>
              </a:rPr>
              <a:t>盘块</a:t>
            </a:r>
            <a:r>
              <a:rPr lang="zh-CN" altLang="en-US" sz="2400" dirty="0"/>
              <a:t>中，只适合于顺序访问</a:t>
            </a:r>
          </a:p>
          <a:p>
            <a:pPr marL="342265" lvl="1" indent="-5334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/>
              <a:t>显式链接：指针显式地存放在</a:t>
            </a:r>
            <a:r>
              <a:rPr lang="zh-CN" altLang="en-US" sz="2400" dirty="0">
                <a:solidFill>
                  <a:srgbClr val="FF0000"/>
                </a:solidFill>
              </a:rPr>
              <a:t>内存的文件分配表</a:t>
            </a:r>
            <a:r>
              <a:rPr lang="en-US" altLang="zh-CN" sz="2400" dirty="0">
                <a:solidFill>
                  <a:srgbClr val="FF0000"/>
                </a:solidFill>
              </a:rPr>
              <a:t>FAT</a:t>
            </a:r>
            <a:r>
              <a:rPr lang="zh-CN" altLang="en-US" sz="2400" dirty="0"/>
              <a:t>中</a:t>
            </a:r>
          </a:p>
        </p:txBody>
      </p:sp>
      <p:sp>
        <p:nvSpPr>
          <p:cNvPr id="18" name="内容占位符 2"/>
          <p:cNvSpPr txBox="1"/>
          <p:nvPr/>
        </p:nvSpPr>
        <p:spPr>
          <a:xfrm>
            <a:off x="822256" y="3330726"/>
            <a:ext cx="4140360" cy="2861955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265" lvl="1" indent="-5334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/>
              <a:t>消除了磁盘的外碎片，提高了外存的利用率</a:t>
            </a:r>
          </a:p>
          <a:p>
            <a:pPr marL="342265" lvl="1" indent="-5334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/>
              <a:t>对插入、删除和修改记录都非常容易</a:t>
            </a:r>
          </a:p>
          <a:p>
            <a:pPr marL="342265" lvl="1" indent="-5334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/>
              <a:t>文件可动态增长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隐式链接示例</a:t>
            </a:r>
          </a:p>
        </p:txBody>
      </p:sp>
      <p:pic>
        <p:nvPicPr>
          <p:cNvPr id="14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16" t="638" r="14516" b="975"/>
          <a:stretch>
            <a:fillRect/>
          </a:stretch>
        </p:blipFill>
        <p:spPr>
          <a:xfrm>
            <a:off x="2451785" y="1172076"/>
            <a:ext cx="6354864" cy="4956335"/>
          </a:xfrm>
          <a:prstGeom prst="rect">
            <a:avLst/>
          </a:prstGeom>
          <a:noFill/>
          <a:ln w="38100" cmpd="dbl">
            <a:solidFill>
              <a:srgbClr val="CC66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显式链接示例：</a:t>
            </a:r>
            <a:r>
              <a:rPr lang="en-US" altLang="zh-CN" sz="2800" b="1" dirty="0">
                <a:solidFill>
                  <a:schemeClr val="bg1"/>
                </a:solidFill>
              </a:rPr>
              <a:t>FAT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pic>
        <p:nvPicPr>
          <p:cNvPr id="4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27" t="587" r="7326" b="896"/>
          <a:stretch>
            <a:fillRect/>
          </a:stretch>
        </p:blipFill>
        <p:spPr bwMode="auto">
          <a:xfrm>
            <a:off x="1950127" y="1187516"/>
            <a:ext cx="7584489" cy="4924144"/>
          </a:xfrm>
          <a:prstGeom prst="rect">
            <a:avLst/>
          </a:prstGeom>
          <a:noFill/>
          <a:ln w="38100" cmpd="dbl">
            <a:solidFill>
              <a:srgbClr val="CC66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074baa65-1bcf-453b-aed6-4412331b316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58a06314-7e72-4d48-85a8-7253ed818c17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1764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1764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185926"/>
</p:tagLst>
</file>

<file path=ppt/theme/theme1.xml><?xml version="1.0" encoding="utf-8"?>
<a:theme xmlns:a="http://schemas.openxmlformats.org/drawingml/2006/main" name="主题5">
  <a:themeElements>
    <a:clrScheme name="自定义 15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7416B"/>
      </a:accent1>
      <a:accent2>
        <a:srgbClr val="FFC000"/>
      </a:accent2>
      <a:accent3>
        <a:srgbClr val="00002E"/>
      </a:accent3>
      <a:accent4>
        <a:srgbClr val="031684"/>
      </a:accent4>
      <a:accent5>
        <a:srgbClr val="969696"/>
      </a:accent5>
      <a:accent6>
        <a:srgbClr val="B2B2B2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3047</TotalTime>
  <Words>2886</Words>
  <Application>Microsoft Office PowerPoint</Application>
  <PresentationFormat>宽屏</PresentationFormat>
  <Paragraphs>321</Paragraphs>
  <Slides>50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50</vt:i4>
      </vt:variant>
    </vt:vector>
  </HeadingPairs>
  <TitlesOfParts>
    <vt:vector size="57" baseType="lpstr">
      <vt:lpstr>微软雅黑 (正文)</vt:lpstr>
      <vt:lpstr>Arial</vt:lpstr>
      <vt:lpstr>Calibri</vt:lpstr>
      <vt:lpstr>Wingdings</vt:lpstr>
      <vt:lpstr>主题5</vt:lpstr>
      <vt:lpstr>think-cell Slide</vt:lpstr>
      <vt:lpstr>Equation</vt:lpstr>
      <vt:lpstr>第9章 磁盘存储器管理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课后练习：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玮 玮 李</cp:lastModifiedBy>
  <cp:revision>232</cp:revision>
  <cp:lastPrinted>2019-04-18T16:00:00Z</cp:lastPrinted>
  <dcterms:created xsi:type="dcterms:W3CDTF">2019-04-18T16:00:00Z</dcterms:created>
  <dcterms:modified xsi:type="dcterms:W3CDTF">2025-05-05T09:28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CV">
    <vt:lpwstr>FD23EC2029474AFD9F391E6735F49F86</vt:lpwstr>
  </property>
  <property fmtid="{D5CDD505-2E9C-101B-9397-08002B2CF9AE}" pid="4" name="KSOProductBuildVer">
    <vt:lpwstr>2052-11.1.0.10356</vt:lpwstr>
  </property>
</Properties>
</file>